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76" r:id="rId1"/>
  </p:sldMasterIdLst>
  <p:notesMasterIdLst>
    <p:notesMasterId r:id="rId44"/>
  </p:notesMasterIdLst>
  <p:sldIdLst>
    <p:sldId id="289" r:id="rId2"/>
    <p:sldId id="356" r:id="rId3"/>
    <p:sldId id="294" r:id="rId4"/>
    <p:sldId id="257" r:id="rId5"/>
    <p:sldId id="348" r:id="rId6"/>
    <p:sldId id="350" r:id="rId7"/>
    <p:sldId id="349" r:id="rId8"/>
    <p:sldId id="351" r:id="rId9"/>
    <p:sldId id="330" r:id="rId10"/>
    <p:sldId id="331" r:id="rId11"/>
    <p:sldId id="332" r:id="rId12"/>
    <p:sldId id="377" r:id="rId13"/>
    <p:sldId id="316" r:id="rId14"/>
    <p:sldId id="335" r:id="rId15"/>
    <p:sldId id="336" r:id="rId16"/>
    <p:sldId id="337" r:id="rId17"/>
    <p:sldId id="338" r:id="rId18"/>
    <p:sldId id="339" r:id="rId19"/>
    <p:sldId id="328" r:id="rId20"/>
    <p:sldId id="295" r:id="rId21"/>
    <p:sldId id="302" r:id="rId22"/>
    <p:sldId id="371" r:id="rId23"/>
    <p:sldId id="376" r:id="rId24"/>
    <p:sldId id="374" r:id="rId25"/>
    <p:sldId id="358" r:id="rId26"/>
    <p:sldId id="359" r:id="rId27"/>
    <p:sldId id="375" r:id="rId28"/>
    <p:sldId id="361" r:id="rId29"/>
    <p:sldId id="362" r:id="rId30"/>
    <p:sldId id="296" r:id="rId31"/>
    <p:sldId id="378" r:id="rId32"/>
    <p:sldId id="344" r:id="rId33"/>
    <p:sldId id="379" r:id="rId34"/>
    <p:sldId id="345" r:id="rId35"/>
    <p:sldId id="346" r:id="rId36"/>
    <p:sldId id="347" r:id="rId37"/>
    <p:sldId id="297" r:id="rId38"/>
    <p:sldId id="298" r:id="rId39"/>
    <p:sldId id="353" r:id="rId40"/>
    <p:sldId id="354" r:id="rId41"/>
    <p:sldId id="355" r:id="rId42"/>
    <p:sldId id="286" r:id="rId43"/>
  </p:sldIdLst>
  <p:sldSz cx="9699625" cy="6858000"/>
  <p:notesSz cx="6858000" cy="9144000"/>
  <p:custDataLst>
    <p:tags r:id="rId4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0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87878"/>
    <a:srgbClr val="1450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795" autoAdjust="0"/>
  </p:normalViewPr>
  <p:slideViewPr>
    <p:cSldViewPr snapToGrid="0">
      <p:cViewPr varScale="1">
        <p:scale>
          <a:sx n="97" d="100"/>
          <a:sy n="97" d="100"/>
        </p:scale>
        <p:origin x="1134" y="90"/>
      </p:cViewPr>
      <p:guideLst>
        <p:guide orient="horz" pos="2160"/>
        <p:guide pos="3055"/>
      </p:guideLst>
    </p:cSldViewPr>
  </p:slideViewPr>
  <p:notesTextViewPr>
    <p:cViewPr>
      <p:scale>
        <a:sx n="1" d="1"/>
        <a:sy n="1" d="1"/>
      </p:scale>
      <p:origin x="0" y="-2988"/>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pt-BR"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p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7" name="Google Shape;227;p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7219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6961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29903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7744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extreme left means full reality, where the stimuli is not produced by any computer or any other digital system. Along the path to the right, the environment starts to have some digital elements until it reaches the far right, where all the environmental elements have a digital origin. The first step from the ”Real Environment” to ”Virtual Reality” is the augmented reality.</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8267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In the augmented reality system, the user sees some digital elements that are laid over the real environment. without making the user lose his sense of presence in the real world. These elements can be text, images, video, etc. Augmented reality can be used to assist workers in manufacturing and assembly tasks, as well as training (DOOLANI </a:t>
            </a:r>
            <a:r>
              <a:rPr lang="en-US" sz="1800" b="0" i="1" dirty="0">
                <a:solidFill>
                  <a:srgbClr val="000000"/>
                </a:solidFill>
                <a:effectLst/>
                <a:latin typeface="CMTI12"/>
              </a:rPr>
              <a:t>et al.</a:t>
            </a:r>
            <a:r>
              <a:rPr lang="en-US" sz="1800" b="0" i="0" dirty="0">
                <a:solidFill>
                  <a:srgbClr val="000000"/>
                </a:solidFill>
                <a:effectLst/>
                <a:latin typeface="CMR12"/>
              </a:rPr>
              <a:t>, 2020; FARRELL, 2018; MA; CHOI, 2007).</a:t>
            </a:r>
            <a:r>
              <a:rPr lang="en-US" sz="2800" dirty="0"/>
              <a:t> </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46173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While the augmented reality brings digital elements to the real environment, the augmented virtuality creates an environment that could only exist digitally, such as a fantasy world from games or movies. This scenario is the background of some other activity that is being done by the user in the real environment. An example is to train a pilot in a virtual environment but with an accurate mock-up of the cockpit, which provides physical buttons and inceptors for the pilot to touch and hold (FARSHID </a:t>
            </a:r>
            <a:r>
              <a:rPr lang="en-US" sz="1800" b="0" i="1" dirty="0">
                <a:solidFill>
                  <a:srgbClr val="000000"/>
                </a:solidFill>
                <a:effectLst/>
                <a:latin typeface="CMTI12"/>
              </a:rPr>
              <a:t>et al.</a:t>
            </a:r>
            <a:r>
              <a:rPr lang="en-US" sz="1800" b="0" i="0" dirty="0">
                <a:solidFill>
                  <a:srgbClr val="000000"/>
                </a:solidFill>
                <a:effectLst/>
                <a:latin typeface="CMR12"/>
              </a:rPr>
              <a:t>, 2018). Another example is to play sports, such as tennis, golf or baseball, in a complete digital arena but using the actual equipment with a tracker.</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54738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mixed reality stays in between the real and virtual environments. Unlike augmented reality and augmented virtuality, in a mixed reality system the user can manipulate digital elements as if they were inside the real world (DOOLANI </a:t>
            </a:r>
            <a:r>
              <a:rPr lang="en-US" sz="1800" b="0" i="1" dirty="0">
                <a:solidFill>
                  <a:srgbClr val="000000"/>
                </a:solidFill>
                <a:effectLst/>
                <a:latin typeface="CMTI12"/>
              </a:rPr>
              <a:t>et al.</a:t>
            </a:r>
            <a:r>
              <a:rPr lang="en-US" sz="1800" b="0" i="0" dirty="0">
                <a:solidFill>
                  <a:srgbClr val="000000"/>
                </a:solidFill>
                <a:effectLst/>
                <a:latin typeface="CMR12"/>
              </a:rPr>
              <a:t>, 2020). One example is when a client from a furniture store uses mixed reality not only to see how the furniture fits inside his room, but he can also move it and change its color, size and shape before buying or even going to the shop.</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70065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On the far right of the virtuality continuum, the virtual reality is when the user is the only non-digital element, everything else is digital, immersing the user in a virtual</a:t>
            </a:r>
            <a:br>
              <a:rPr lang="en-US" sz="1800" b="0" i="0" dirty="0">
                <a:solidFill>
                  <a:srgbClr val="000000"/>
                </a:solidFill>
                <a:effectLst/>
                <a:latin typeface="CMR12"/>
              </a:rPr>
            </a:br>
            <a:r>
              <a:rPr lang="en-US" sz="1800" b="0" i="0" dirty="0">
                <a:solidFill>
                  <a:srgbClr val="000000"/>
                </a:solidFill>
                <a:effectLst/>
                <a:latin typeface="CMR12"/>
              </a:rPr>
              <a:t>environment, but, of course, inside the physical limits of the real environment (MA; CHOI, 2007). If the feeling of presence inside that environment is well tailored, the user</a:t>
            </a:r>
            <a:br>
              <a:rPr lang="en-US" sz="1800" b="0" i="0" dirty="0">
                <a:solidFill>
                  <a:srgbClr val="000000"/>
                </a:solidFill>
                <a:effectLst/>
                <a:latin typeface="CMR12"/>
              </a:rPr>
            </a:br>
            <a:r>
              <a:rPr lang="en-US" sz="1800" b="0" i="0" dirty="0">
                <a:solidFill>
                  <a:srgbClr val="000000"/>
                </a:solidFill>
                <a:effectLst/>
                <a:latin typeface="CMR12"/>
              </a:rPr>
              <a:t>can momentarily forget about the real environment and act and react accordingly to the virtual environment (FARRELL, 2018).</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277222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736096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6036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pt-BR" sz="1200" b="0" i="0" u="none" strike="noStrike" cap="none" smtClean="0">
                <a:solidFill>
                  <a:schemeClr val="dk1"/>
                </a:solidFill>
                <a:latin typeface="Calibri"/>
                <a:ea typeface="Calibri"/>
                <a:cs typeface="Calibri"/>
                <a:sym typeface="Calibri"/>
              </a:rPr>
              <a:t>2</a:t>
            </a:fld>
            <a:endParaRPr lang="pt-B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326948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This work adopts an experimental approach to evaluate the proposal of this dissertation and to investigate the questions stated in Section 1.1. The work is organized in the</a:t>
            </a:r>
            <a:br>
              <a:rPr lang="en-US" sz="1800" b="0" i="0" dirty="0">
                <a:solidFill>
                  <a:srgbClr val="000000"/>
                </a:solidFill>
                <a:effectLst/>
                <a:latin typeface="CMR12"/>
              </a:rPr>
            </a:br>
            <a:r>
              <a:rPr lang="en-US" sz="1800" b="0" i="0" dirty="0">
                <a:solidFill>
                  <a:srgbClr val="000000"/>
                </a:solidFill>
                <a:effectLst/>
                <a:latin typeface="CMR12"/>
              </a:rPr>
              <a:t>following steps, illustrated in Figure 1.1:</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134823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br>
              <a:rPr lang="en-US" dirty="0"/>
            </a:br>
            <a:r>
              <a:rPr lang="en-US" dirty="0"/>
              <a:t>• </a:t>
            </a:r>
            <a:r>
              <a:rPr lang="en-US" sz="1200" b="0" i="0" dirty="0">
                <a:solidFill>
                  <a:srgbClr val="000000"/>
                </a:solidFill>
                <a:effectLst/>
                <a:latin typeface="CMR12"/>
              </a:rPr>
              <a:t>It is composed of two parts. The first is to review the fundamental concept related to the topics covered in this work: human factors and virtual reality.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e second part aims at contextualizing the dissertation’s proposal. It reviews recently published works on the development and evaluation of assistive devices for BVI people.</a:t>
            </a:r>
            <a:r>
              <a:rPr lang="en-US" dirty="0"/>
              <a:t> </a:t>
            </a:r>
            <a:br>
              <a:rPr lang="en-US" dirty="0"/>
            </a:br>
            <a:endParaRPr lang="en-US" dirty="0"/>
          </a:p>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900713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br>
              <a:rPr lang="en-US" dirty="0"/>
            </a:br>
            <a:r>
              <a:rPr lang="en-US" dirty="0"/>
              <a:t>• </a:t>
            </a:r>
            <a:r>
              <a:rPr lang="en-US" sz="1200" b="0" i="0" dirty="0">
                <a:solidFill>
                  <a:srgbClr val="000000"/>
                </a:solidFill>
                <a:effectLst/>
                <a:latin typeface="CMR12"/>
              </a:rPr>
              <a:t>It is composed of two parts. The first is to review the fundamental concept related to the topics covered in this work: human factors and virtual reality.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e second part aims at contextualizing the dissertation’s proposal. It reviews recently published works on the development and evaluation of assistive devices for BVI people.</a:t>
            </a:r>
            <a:r>
              <a:rPr lang="en-US" dirty="0"/>
              <a:t> </a:t>
            </a:r>
            <a:br>
              <a:rPr lang="en-US" dirty="0"/>
            </a:br>
            <a:endParaRPr lang="en-US" dirty="0"/>
          </a:p>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69266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r>
              <a:rPr lang="pt-BR" sz="1800" b="0" i="0" dirty="0" err="1">
                <a:solidFill>
                  <a:srgbClr val="000000"/>
                </a:solidFill>
                <a:effectLst/>
                <a:latin typeface="CMR12"/>
              </a:rPr>
              <a:t>Step</a:t>
            </a:r>
            <a:r>
              <a:rPr lang="pt-BR" sz="1800" b="0" i="0" dirty="0">
                <a:solidFill>
                  <a:srgbClr val="000000"/>
                </a:solidFill>
                <a:effectLst/>
                <a:latin typeface="CMR12"/>
              </a:rPr>
              <a:t> 2 – </a:t>
            </a:r>
            <a:r>
              <a:rPr lang="en-US" sz="1800" b="0" i="0" dirty="0">
                <a:solidFill>
                  <a:srgbClr val="000000"/>
                </a:solidFill>
                <a:effectLst/>
                <a:latin typeface="CMR12"/>
              </a:rPr>
              <a:t>Specification of examples of the virtual environment and assistive device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step consists of specifying one example of a virtual environment and a few examples of assistive devices to test the proposed approach of using virtual reality for evaluating purpose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Considering the above-mentioned motivation related to the covid-19 pandemic, the chosen virtual environment is the reception of a health clinic. The assistive devices used as examples are: an audio system, a haptic belt and a virtual cane, which could be used as stand-alone devices or combined.</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071762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r>
              <a:rPr lang="pt-BR" sz="1800" b="0" i="0" dirty="0" err="1">
                <a:solidFill>
                  <a:srgbClr val="000000"/>
                </a:solidFill>
                <a:effectLst/>
                <a:latin typeface="CMR12"/>
              </a:rPr>
              <a:t>Step</a:t>
            </a:r>
            <a:r>
              <a:rPr lang="pt-BR" sz="1800" b="0" i="0" dirty="0">
                <a:solidFill>
                  <a:srgbClr val="000000"/>
                </a:solidFill>
                <a:effectLst/>
                <a:latin typeface="CMR12"/>
              </a:rPr>
              <a:t> 3 – </a:t>
            </a:r>
            <a:r>
              <a:rPr lang="en-US" sz="1800" b="0" i="0" dirty="0">
                <a:solidFill>
                  <a:srgbClr val="000000"/>
                </a:solidFill>
                <a:effectLst/>
                <a:latin typeface="CMR12"/>
              </a:rPr>
              <a:t>Development of the specified virtual environment</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e virtual environment of a health clinic reception is developed in the Unit3D environment. The HTC VIVE VR Head Mounted Device (HMD) is used as a localizing system to define the user’s position inside the virtual environment.</a:t>
            </a:r>
            <a:r>
              <a:rPr lang="en-US" dirty="0"/>
              <a:t> </a:t>
            </a:r>
            <a:br>
              <a:rPr lang="en-US" dirty="0"/>
            </a:br>
            <a:endParaRPr lang="en-US" dirty="0"/>
          </a:p>
          <a:p>
            <a:pPr marL="0" lvl="0" indent="0" algn="l" rtl="0">
              <a:spcBef>
                <a:spcPts val="0"/>
              </a:spcBef>
              <a:spcAft>
                <a:spcPts val="0"/>
              </a:spcAft>
              <a:buNone/>
            </a:pPr>
            <a:r>
              <a:rPr lang="en-US" sz="1800" b="0" i="0" dirty="0">
                <a:solidFill>
                  <a:srgbClr val="000000"/>
                </a:solidFill>
                <a:effectLst/>
                <a:latin typeface="CMR12"/>
              </a:rPr>
              <a:t>Step 4 – Development of proofs of concept of the specified assistive devices</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e three examples of devices are developed using low-cost and available laboratory equipment. The audio guide is developed using the audio system of HTV VIVE HMD, while the virtual cane is developed using the HTC VIVE VR hand controller. Finally, the haptic belt is developed using an ESP32 microcontroller, eight vibrating motors 1027 and 3D printed piece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006219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r>
              <a:rPr lang="pt-BR" sz="1800" b="0" i="0" dirty="0" err="1">
                <a:solidFill>
                  <a:srgbClr val="000000"/>
                </a:solidFill>
                <a:effectLst/>
                <a:latin typeface="CMR12"/>
              </a:rPr>
              <a:t>Step</a:t>
            </a:r>
            <a:r>
              <a:rPr lang="pt-BR" sz="1800" b="0" i="0" dirty="0">
                <a:solidFill>
                  <a:srgbClr val="000000"/>
                </a:solidFill>
                <a:effectLst/>
                <a:latin typeface="CMR12"/>
              </a:rPr>
              <a:t> 3 – </a:t>
            </a:r>
            <a:r>
              <a:rPr lang="en-US" sz="1800" b="0" i="0" dirty="0">
                <a:solidFill>
                  <a:srgbClr val="000000"/>
                </a:solidFill>
                <a:effectLst/>
                <a:latin typeface="CMR12"/>
              </a:rPr>
              <a:t>Development of the specified virtual environment</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e virtual environment of a health clinic reception is developed in the Unit3D environment. The HTC VIVE VR Head Mounted Device (HMD) is used as a localizing system to define the user’s position inside the virtual environment.</a:t>
            </a:r>
            <a:r>
              <a:rPr lang="en-US" dirty="0"/>
              <a:t> </a:t>
            </a:r>
            <a:br>
              <a:rPr lang="en-US" dirty="0"/>
            </a:br>
            <a:endParaRPr lang="en-US" dirty="0"/>
          </a:p>
          <a:p>
            <a:pPr marL="0" lvl="0" indent="0" algn="l" rtl="0">
              <a:spcBef>
                <a:spcPts val="0"/>
              </a:spcBef>
              <a:spcAft>
                <a:spcPts val="0"/>
              </a:spcAft>
              <a:buNone/>
            </a:pPr>
            <a:r>
              <a:rPr lang="en-US" sz="1800" b="0" i="0" dirty="0">
                <a:solidFill>
                  <a:srgbClr val="000000"/>
                </a:solidFill>
                <a:effectLst/>
                <a:latin typeface="CMR12"/>
              </a:rPr>
              <a:t>Step 4 – Development of proofs of concept of the specified assistive devices</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e three examples of devices are developed using low-cost and available laboratory equipment. The audio guide is developed using the audio system of HTV VIVE HMD, while the virtual cane is developed using the HTC VIVE VR hand controller. Finally, the haptic belt is developed using an ESP32 microcontroller, eight vibrating motors 1027 and 3D printed piece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136054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r>
              <a:rPr lang="en-US" sz="1800" b="0" i="0" dirty="0">
                <a:solidFill>
                  <a:srgbClr val="000000"/>
                </a:solidFill>
                <a:effectLst/>
                <a:latin typeface="CMR12"/>
              </a:rPr>
              <a:t>Step 5 – Design and execution of the experiment</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e proposed experiment is based on the best practices and principles of the Design of Experiment (DoE) discipline. The following techniques and tools are used for evaluating human facto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a) Questionnaires adapted from the literature, such as NASA-TLX and SAGAT, or explicitly proposed for this work;</a:t>
            </a:r>
            <a:br>
              <a:rPr lang="en-US" sz="1800" b="0" i="0" dirty="0">
                <a:solidFill>
                  <a:srgbClr val="000000"/>
                </a:solidFill>
                <a:effectLst/>
                <a:latin typeface="CMR12"/>
              </a:rPr>
            </a:br>
            <a:r>
              <a:rPr lang="en-US" sz="1800" b="0" i="0" dirty="0">
                <a:solidFill>
                  <a:srgbClr val="000000"/>
                </a:solidFill>
                <a:effectLst/>
                <a:latin typeface="CMR12"/>
              </a:rPr>
              <a:t>b) Physiological sensors, such as GSR and ECG, to capture the body’s response.</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84463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r>
              <a:rPr lang="en-US" sz="1800" b="0" i="0" dirty="0">
                <a:solidFill>
                  <a:srgbClr val="000000"/>
                </a:solidFill>
                <a:effectLst/>
                <a:latin typeface="CMR12"/>
              </a:rPr>
              <a:t>Step 6 – Analysis of results</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e results of the experiment are graphically and statistically </a:t>
            </a:r>
            <a:r>
              <a:rPr lang="en-US" sz="1800" b="0" i="0" dirty="0" err="1">
                <a:solidFill>
                  <a:srgbClr val="000000"/>
                </a:solidFill>
                <a:effectLst/>
                <a:latin typeface="CMR12"/>
              </a:rPr>
              <a:t>analysed</a:t>
            </a:r>
            <a:r>
              <a:rPr lang="en-US" sz="1800" b="0" i="0" dirty="0">
                <a:solidFill>
                  <a:srgbClr val="000000"/>
                </a:solidFill>
                <a:effectLst/>
                <a:latin typeface="CMR12"/>
              </a:rPr>
              <a:t> to estimate the user’s mental workload and situation awareness. In the statistical analysis, the outputs are verified for residual normality and similar variance inside the group is verified using an ANOVA. Finally, when needed, a Fisher’s Least Squared Difference Test is done to verify similarities between pair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837473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As previously stated, the context in which the assistive devices are evaluated is the BVI navigation through a hospital or medical clinic in a covid-19 pandemic situation.</a:t>
            </a:r>
          </a:p>
          <a:p>
            <a:pPr marL="0" lvl="0" indent="0" algn="l" rtl="0">
              <a:spcBef>
                <a:spcPts val="0"/>
              </a:spcBef>
              <a:spcAft>
                <a:spcPts val="0"/>
              </a:spcAft>
              <a:buNone/>
            </a:pPr>
            <a:br>
              <a:rPr lang="en-US" sz="1800" b="0" i="0" dirty="0">
                <a:solidFill>
                  <a:srgbClr val="000000"/>
                </a:solidFill>
                <a:effectLst/>
                <a:latin typeface="CMR12"/>
              </a:rPr>
            </a:br>
            <a:r>
              <a:rPr lang="en-US" sz="1800" b="1" i="1" dirty="0">
                <a:solidFill>
                  <a:srgbClr val="000000"/>
                </a:solidFill>
                <a:effectLst/>
                <a:latin typeface="CMBXTI10"/>
              </a:rPr>
              <a:t>Step 1.1 Interview with environment specialists</a:t>
            </a:r>
            <a:r>
              <a:rPr lang="en-US" sz="2800" dirty="0"/>
              <a:t> </a:t>
            </a:r>
            <a:br>
              <a:rPr lang="en-US" sz="2800" dirty="0"/>
            </a:br>
            <a:endParaRPr lang="en-US" sz="2800" dirty="0"/>
          </a:p>
          <a:p>
            <a:pPr marL="0" lvl="0" indent="0" algn="l" rtl="0">
              <a:spcBef>
                <a:spcPts val="0"/>
              </a:spcBef>
              <a:spcAft>
                <a:spcPts val="0"/>
              </a:spcAft>
              <a:buNone/>
            </a:pPr>
            <a:r>
              <a:rPr lang="en-US" sz="1800" b="0" i="0" dirty="0">
                <a:solidFill>
                  <a:srgbClr val="000000"/>
                </a:solidFill>
                <a:effectLst/>
                <a:latin typeface="CMR12"/>
              </a:rPr>
              <a:t>• In order to gather information about this context, the first step of Phase 1 consists of interviewing specialists from hospitals to understand the usual hospital procedures and</a:t>
            </a:r>
            <a:br>
              <a:rPr lang="en-US" sz="1800" b="0" i="0" dirty="0">
                <a:solidFill>
                  <a:srgbClr val="000000"/>
                </a:solidFill>
                <a:effectLst/>
                <a:latin typeface="CMR12"/>
              </a:rPr>
            </a:br>
            <a:r>
              <a:rPr lang="en-US" sz="1800" b="0" i="0" dirty="0">
                <a:solidFill>
                  <a:srgbClr val="000000"/>
                </a:solidFill>
                <a:effectLst/>
                <a:latin typeface="CMR12"/>
              </a:rPr>
              <a:t>the standard features of this environment. For this work, employees from two hospitals of Sao Jose dos Campos were interviewed (</a:t>
            </a:r>
            <a:r>
              <a:rPr lang="en-US" sz="1800" b="0" i="0" dirty="0" err="1">
                <a:solidFill>
                  <a:srgbClr val="000000"/>
                </a:solidFill>
                <a:effectLst/>
                <a:latin typeface="CMR12"/>
              </a:rPr>
              <a:t>Vivalle</a:t>
            </a:r>
            <a:r>
              <a:rPr lang="en-US" sz="1800" b="0" i="0" dirty="0">
                <a:solidFill>
                  <a:srgbClr val="000000"/>
                </a:solidFill>
                <a:effectLst/>
                <a:latin typeface="CMR12"/>
              </a:rPr>
              <a:t> Hospital and the Municipal Hospital). They were questioned about the layout of rooms and spaces and the processes that a new patient follows through the hospital, from the check-in until he/she gets in the doctor’s office. According to the interviews, the procedures adopted by patients in both hospitals are similar and are usually composed of the following steps:</a:t>
            </a:r>
            <a:br>
              <a:rPr lang="en-US" sz="1800" b="0" i="0" dirty="0">
                <a:solidFill>
                  <a:srgbClr val="000000"/>
                </a:solidFill>
                <a:effectLst/>
                <a:latin typeface="CMR12"/>
              </a:rPr>
            </a:br>
            <a:r>
              <a:rPr lang="en-US" sz="1800" b="0" i="0" dirty="0">
                <a:solidFill>
                  <a:srgbClr val="000000"/>
                </a:solidFill>
                <a:effectLst/>
                <a:latin typeface="CMR12"/>
              </a:rPr>
              <a:t>1. Enter the hospital;</a:t>
            </a:r>
            <a:br>
              <a:rPr lang="en-US" sz="1800" b="0" i="0" dirty="0">
                <a:solidFill>
                  <a:srgbClr val="000000"/>
                </a:solidFill>
                <a:effectLst/>
                <a:latin typeface="CMR12"/>
              </a:rPr>
            </a:br>
            <a:r>
              <a:rPr lang="en-US" sz="1800" b="0" i="0" dirty="0">
                <a:solidFill>
                  <a:srgbClr val="000000"/>
                </a:solidFill>
                <a:effectLst/>
                <a:latin typeface="CMR12"/>
              </a:rPr>
              <a:t>2. Use the sanitizer to clean their hands;</a:t>
            </a:r>
            <a:br>
              <a:rPr lang="en-US" sz="1800" b="0" i="0" dirty="0">
                <a:solidFill>
                  <a:srgbClr val="000000"/>
                </a:solidFill>
                <a:effectLst/>
                <a:latin typeface="CMR12"/>
              </a:rPr>
            </a:br>
            <a:r>
              <a:rPr lang="en-US" sz="1800" b="0" i="0" dirty="0">
                <a:solidFill>
                  <a:srgbClr val="000000"/>
                </a:solidFill>
                <a:effectLst/>
                <a:latin typeface="CMR12"/>
              </a:rPr>
              <a:t>3. Take a queue number and wait for the call of the receptionist;</a:t>
            </a:r>
            <a:br>
              <a:rPr lang="en-US" sz="1800" b="0" i="0" dirty="0">
                <a:solidFill>
                  <a:srgbClr val="000000"/>
                </a:solidFill>
                <a:effectLst/>
                <a:latin typeface="CMR12"/>
              </a:rPr>
            </a:br>
            <a:r>
              <a:rPr lang="en-US" sz="1800" b="0" i="0" dirty="0">
                <a:solidFill>
                  <a:srgbClr val="000000"/>
                </a:solidFill>
                <a:effectLst/>
                <a:latin typeface="CMR12"/>
              </a:rPr>
              <a:t>4. Go to the receptionist and check in;</a:t>
            </a:r>
            <a:br>
              <a:rPr lang="en-US" sz="1800" b="0" i="0" dirty="0">
                <a:solidFill>
                  <a:srgbClr val="000000"/>
                </a:solidFill>
                <a:effectLst/>
                <a:latin typeface="CMR12"/>
              </a:rPr>
            </a:br>
            <a:r>
              <a:rPr lang="en-US" sz="1800" b="0" i="0" dirty="0">
                <a:solidFill>
                  <a:srgbClr val="000000"/>
                </a:solidFill>
                <a:effectLst/>
                <a:latin typeface="CMR12"/>
              </a:rPr>
              <a:t>5. Sit in the waiting area and wait until the patient’s name is called;</a:t>
            </a:r>
            <a:br>
              <a:rPr lang="en-US" sz="1800" b="0" i="0" dirty="0">
                <a:solidFill>
                  <a:srgbClr val="000000"/>
                </a:solidFill>
                <a:effectLst/>
                <a:latin typeface="CMR12"/>
              </a:rPr>
            </a:br>
            <a:r>
              <a:rPr lang="en-US" sz="1800" b="0" i="0" dirty="0">
                <a:solidFill>
                  <a:srgbClr val="000000"/>
                </a:solidFill>
                <a:effectLst/>
                <a:latin typeface="CMR12"/>
              </a:rPr>
              <a:t>6. Leave the waiting area toward the doctor’s office.</a:t>
            </a:r>
            <a:r>
              <a:rPr lang="en-US" sz="2800" dirty="0"/>
              <a:t> </a:t>
            </a:r>
          </a:p>
          <a:p>
            <a:pPr marL="0" lvl="0" indent="0" algn="l" rtl="0">
              <a:spcBef>
                <a:spcPts val="0"/>
              </a:spcBef>
              <a:spcAft>
                <a:spcPts val="0"/>
              </a:spcAft>
              <a:buNone/>
            </a:pPr>
            <a:endParaRPr lang="en-US" sz="2800" dirty="0"/>
          </a:p>
          <a:p>
            <a:pPr marL="0" lvl="0" indent="0" algn="l" rtl="0">
              <a:spcBef>
                <a:spcPts val="0"/>
              </a:spcBef>
              <a:spcAft>
                <a:spcPts val="0"/>
              </a:spcAft>
              <a:buNone/>
            </a:pPr>
            <a:r>
              <a:rPr lang="en-US" sz="1800" b="1" i="1" dirty="0">
                <a:solidFill>
                  <a:srgbClr val="000000"/>
                </a:solidFill>
                <a:effectLst/>
                <a:latin typeface="CMBXTI10"/>
              </a:rPr>
              <a:t>Step 1.2 Interview with BVI consultants</a:t>
            </a:r>
            <a:br>
              <a:rPr lang="en-US" sz="1800" b="1" i="1" dirty="0">
                <a:solidFill>
                  <a:srgbClr val="000000"/>
                </a:solidFill>
                <a:effectLst/>
                <a:latin typeface="CMBXTI10"/>
              </a:rPr>
            </a:br>
            <a:r>
              <a:rPr lang="en-US" sz="1800" b="0" i="0" dirty="0">
                <a:solidFill>
                  <a:srgbClr val="000000"/>
                </a:solidFill>
                <a:effectLst/>
                <a:latin typeface="CMR12"/>
              </a:rPr>
              <a:t>One of the motivations of this work is that BVI users are not completely satisfied with the current guidance products. We hypothesize that BVI users are not usually consulted</a:t>
            </a:r>
            <a:br>
              <a:rPr lang="en-US" sz="1800" b="0" i="0" dirty="0">
                <a:solidFill>
                  <a:srgbClr val="000000"/>
                </a:solidFill>
                <a:effectLst/>
                <a:latin typeface="CMR12"/>
              </a:rPr>
            </a:br>
            <a:r>
              <a:rPr lang="en-US" sz="1800" b="0" i="0" dirty="0">
                <a:solidFill>
                  <a:srgbClr val="000000"/>
                </a:solidFill>
                <a:effectLst/>
                <a:latin typeface="CMR12"/>
              </a:rPr>
              <a:t>from the early stages of the products’ development. In this work, two BVI acted as consultants for the proposal of guiding methods and the design of a virtual environment that would be familiar to their reality. They had different visual impairments. One of them became blind at the age of 13 years old, while the other was diagnosed with Usher’s disease. The interviews with BVI consultants were critical to understanding how they perceive a medical clinic as they walk in and how they interact with the environment. Among the inputs provided by BVI interviews’ are the importance of including in the virtual environment background noise typical of a reception, such as a keyboard typing and a telephone ringing, as well as a few physical expected objects to interact with (chairs and desk)</a:t>
            </a:r>
            <a:r>
              <a:rPr lang="en-US" sz="4000" dirty="0"/>
              <a:t> </a:t>
            </a:r>
            <a:br>
              <a:rPr lang="en-US" sz="4000" dirty="0"/>
            </a:b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30293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In Phase 2, the information collected through the interviews of Phase 1 is used to make critical decisions about the virtual environment where the evaluation of the assistive devices will be carried out. It is also used to define which human factors should be assessed. Finally, it contributes to define the guidance methods that should be implemented in the assistive devic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1" dirty="0">
                <a:solidFill>
                  <a:srgbClr val="000000"/>
                </a:solidFill>
                <a:effectLst/>
                <a:latin typeface="CMBXTI10"/>
              </a:rPr>
              <a:t>Step 2.1 Virtual environment specification</a:t>
            </a:r>
            <a:br>
              <a:rPr lang="en-US" sz="1800" b="1" i="1" dirty="0">
                <a:solidFill>
                  <a:srgbClr val="000000"/>
                </a:solidFill>
                <a:effectLst/>
                <a:latin typeface="CMBXTI10"/>
              </a:rPr>
            </a:br>
            <a:endParaRPr lang="en-US" sz="1800" b="1" i="1" dirty="0">
              <a:solidFill>
                <a:srgbClr val="000000"/>
              </a:solidFill>
              <a:effectLst/>
              <a:latin typeface="CMBXTI10"/>
            </a:endParaRPr>
          </a:p>
          <a:p>
            <a:pPr marL="0" lvl="0" indent="0" algn="l" rtl="0">
              <a:spcBef>
                <a:spcPts val="0"/>
              </a:spcBef>
              <a:spcAft>
                <a:spcPts val="0"/>
              </a:spcAft>
              <a:buNone/>
            </a:pPr>
            <a:r>
              <a:rPr lang="en-US" sz="1800" b="0" i="0" dirty="0">
                <a:solidFill>
                  <a:srgbClr val="000000"/>
                </a:solidFill>
                <a:effectLst/>
                <a:latin typeface="CMR12"/>
              </a:rPr>
              <a:t>Based on the data collected during the interviews, the scenario was defined as the hospital or medical clinic reception. The BVI patient should be able to navigate through the reception hall and reach a reception desk. After he/she is registered, the BVI patient should wait until he/she is called and then goes to his/her doctor’s office.</a:t>
            </a:r>
            <a:br>
              <a:rPr lang="en-US" sz="2800" dirty="0"/>
            </a:br>
            <a:br>
              <a:rPr lang="en-US" sz="1800" b="0" i="0" dirty="0">
                <a:solidFill>
                  <a:srgbClr val="000000"/>
                </a:solidFill>
                <a:effectLst/>
                <a:latin typeface="CMR12"/>
              </a:rPr>
            </a:br>
            <a:r>
              <a:rPr lang="en-US" sz="1800" b="0" i="0" dirty="0">
                <a:solidFill>
                  <a:srgbClr val="000000"/>
                </a:solidFill>
                <a:effectLst/>
                <a:latin typeface="CMR12"/>
              </a:rPr>
              <a:t>At this step, a preliminary layout of the virtual environment was sketched, combining the elements that were common to the reception of the two hospitals, such as a waiting area with chairs (some of which should remain empty due to covid distancing), a reception desk, an alcohol totem, among oth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One limitation that had to be taken into account in the specification of the virtual environment is the corresponding physical area (real empty room) that should be available so that the BVI could walk through the real world. while he/she navigates in the virtual world. Typical dimensions of a reception are around 15x20m. Due to the limited space available at the laboratory, the reception was scaled down to fit into the available physical space, with an area of 7x10m but maintaining the same elements (reception desk, waiting area, sanitizer, among oth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1" dirty="0">
                <a:solidFill>
                  <a:srgbClr val="000000"/>
                </a:solidFill>
                <a:effectLst/>
                <a:latin typeface="CMBXTI10"/>
              </a:rPr>
              <a:t>Step 2.2 Assessment specification</a:t>
            </a:r>
            <a:br>
              <a:rPr lang="en-US" sz="1800" b="1" i="1" dirty="0">
                <a:solidFill>
                  <a:srgbClr val="000000"/>
                </a:solidFill>
                <a:effectLst/>
                <a:latin typeface="CMBXTI10"/>
              </a:rPr>
            </a:br>
            <a:r>
              <a:rPr lang="en-US" sz="1800" b="0" i="0" dirty="0">
                <a:solidFill>
                  <a:srgbClr val="000000"/>
                </a:solidFill>
                <a:effectLst/>
                <a:latin typeface="CMR12"/>
              </a:rPr>
              <a:t>Based on the review of the literature and the BVI interviews, the assessment method should include the following dimensions, which were commonly evaluated in previous works:</a:t>
            </a:r>
            <a:br>
              <a:rPr lang="en-US" sz="1800" b="0" i="0" dirty="0">
                <a:solidFill>
                  <a:srgbClr val="000000"/>
                </a:solidFill>
                <a:effectLst/>
                <a:latin typeface="CMR12"/>
              </a:rPr>
            </a:br>
            <a:r>
              <a:rPr lang="en-US" sz="1800" b="0" i="0" dirty="0">
                <a:solidFill>
                  <a:srgbClr val="000000"/>
                </a:solidFill>
                <a:effectLst/>
                <a:latin typeface="CMR12"/>
              </a:rPr>
              <a:t>A) Performance evaluation;</a:t>
            </a:r>
            <a:br>
              <a:rPr lang="en-US" sz="1800" b="0" i="0" dirty="0">
                <a:solidFill>
                  <a:srgbClr val="000000"/>
                </a:solidFill>
                <a:effectLst/>
                <a:latin typeface="CMR12"/>
              </a:rPr>
            </a:br>
            <a:r>
              <a:rPr lang="en-US" sz="1800" b="0" i="0" dirty="0">
                <a:solidFill>
                  <a:srgbClr val="000000"/>
                </a:solidFill>
                <a:effectLst/>
                <a:latin typeface="CMR12"/>
              </a:rPr>
              <a:t>B) Mental workload evaluation.</a:t>
            </a:r>
            <a:br>
              <a:rPr lang="en-US" sz="1800" b="0" i="0" dirty="0">
                <a:solidFill>
                  <a:srgbClr val="000000"/>
                </a:solidFill>
                <a:effectLst/>
                <a:latin typeface="CMR12"/>
              </a:rPr>
            </a:br>
            <a:r>
              <a:rPr lang="en-US" sz="1800" b="0" i="0" dirty="0">
                <a:solidFill>
                  <a:srgbClr val="000000"/>
                </a:solidFill>
                <a:effectLst/>
                <a:latin typeface="CMR12"/>
              </a:rPr>
              <a:t>Additionally, a third dimension was also included, based on lessons learned from the Aeronautics area:</a:t>
            </a:r>
            <a:br>
              <a:rPr lang="en-US" sz="1800" b="0" i="0" dirty="0">
                <a:solidFill>
                  <a:srgbClr val="000000"/>
                </a:solidFill>
                <a:effectLst/>
                <a:latin typeface="CMR12"/>
              </a:rPr>
            </a:br>
            <a:r>
              <a:rPr lang="en-US" sz="1800" b="0" i="0" dirty="0">
                <a:solidFill>
                  <a:srgbClr val="000000"/>
                </a:solidFill>
                <a:effectLst/>
                <a:latin typeface="CMR12"/>
              </a:rPr>
              <a:t>C) Situation awareness evaluation.</a:t>
            </a:r>
            <a:br>
              <a:rPr lang="en-US" sz="1800" b="0" i="0" dirty="0">
                <a:solidFill>
                  <a:srgbClr val="000000"/>
                </a:solidFill>
                <a:effectLst/>
                <a:latin typeface="CMR12"/>
              </a:rPr>
            </a:br>
            <a:r>
              <a:rPr lang="en-US" sz="1800" b="0" i="0" dirty="0">
                <a:solidFill>
                  <a:srgbClr val="000000"/>
                </a:solidFill>
                <a:effectLst/>
                <a:latin typeface="CMR12"/>
              </a:rPr>
              <a:t>This dimension was included to verify if the BVI user can build a mental map of the environment based on the inputs provided by the devices. Finally, a fourth dimension is included for evaluating the user preferences when comparing the assistive devices.</a:t>
            </a:r>
            <a:br>
              <a:rPr lang="en-US" sz="1800" b="0" i="0" dirty="0">
                <a:solidFill>
                  <a:srgbClr val="000000"/>
                </a:solidFill>
                <a:effectLst/>
                <a:latin typeface="CMR12"/>
              </a:rPr>
            </a:br>
            <a:r>
              <a:rPr lang="en-US" sz="1800" b="0" i="0" dirty="0">
                <a:solidFill>
                  <a:srgbClr val="000000"/>
                </a:solidFill>
                <a:effectLst/>
                <a:latin typeface="CMR12"/>
              </a:rPr>
              <a:t>D) Guidance method evalu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br>
              <a:rPr lang="en-US" sz="1800" b="0" i="0" dirty="0">
                <a:solidFill>
                  <a:srgbClr val="000000"/>
                </a:solidFill>
                <a:effectLst/>
                <a:latin typeface="CMR12"/>
              </a:rPr>
            </a:br>
            <a:r>
              <a:rPr lang="en-US" sz="1800" b="1" i="1" dirty="0">
                <a:solidFill>
                  <a:srgbClr val="000000"/>
                </a:solidFill>
                <a:effectLst/>
                <a:latin typeface="CMBXTI10"/>
              </a:rPr>
              <a:t>Step 2.3 Guidance specification</a:t>
            </a:r>
            <a:br>
              <a:rPr lang="en-US" sz="1800" b="1" i="1" dirty="0">
                <a:solidFill>
                  <a:srgbClr val="000000"/>
                </a:solidFill>
                <a:effectLst/>
                <a:latin typeface="CMBXTI10"/>
              </a:rPr>
            </a:br>
            <a:endParaRPr lang="en-US" sz="1800" b="1" i="1" dirty="0">
              <a:solidFill>
                <a:srgbClr val="000000"/>
              </a:solidFill>
              <a:effectLst/>
              <a:latin typeface="CMBXTI10"/>
            </a:endParaRPr>
          </a:p>
          <a:p>
            <a:pPr marL="0" lvl="0" indent="0" algn="l" rtl="0">
              <a:spcBef>
                <a:spcPts val="0"/>
              </a:spcBef>
              <a:spcAft>
                <a:spcPts val="0"/>
              </a:spcAft>
              <a:buNone/>
            </a:pPr>
            <a:r>
              <a:rPr lang="en-US" sz="1800" b="0" i="0" dirty="0">
                <a:solidFill>
                  <a:srgbClr val="000000"/>
                </a:solidFill>
                <a:effectLst/>
                <a:latin typeface="CMR12"/>
              </a:rPr>
              <a:t>Most current solutions for supporting BVI navigation use sound, vibration or both to communicate relevant information about the environment to the user.</a:t>
            </a:r>
            <a:br>
              <a:rPr lang="en-US" sz="2800" dirty="0"/>
            </a:br>
            <a:br>
              <a:rPr lang="en-US" sz="1800" b="0" i="0" dirty="0">
                <a:solidFill>
                  <a:srgbClr val="000000"/>
                </a:solidFill>
                <a:effectLst/>
                <a:latin typeface="CMR12"/>
              </a:rPr>
            </a:br>
            <a:r>
              <a:rPr lang="en-US" sz="1800" b="0" i="0" dirty="0">
                <a:solidFill>
                  <a:srgbClr val="000000"/>
                </a:solidFill>
                <a:effectLst/>
                <a:latin typeface="CMR12"/>
              </a:rPr>
              <a:t>Based on the interviews with BVI consults, the three options were selected to be tested in this work (audio, vibration and audio/vibration combina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Moreover, an exciting property was also evaluated: the effect of information being transmitted with or without the user’s command. This evaluation was applied to the vibration method and resulted in it being split in two variants: one that works around the user and another that works with where he/she decide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In summarizing, four guidance methods were chosen to be evaluated:</a:t>
            </a:r>
            <a:br>
              <a:rPr lang="en-US" sz="1800" b="0" i="0" dirty="0">
                <a:solidFill>
                  <a:srgbClr val="000000"/>
                </a:solidFill>
                <a:effectLst/>
                <a:latin typeface="CMR12"/>
              </a:rPr>
            </a:br>
            <a:r>
              <a:rPr lang="en-US" sz="1800" b="0" i="0" dirty="0">
                <a:solidFill>
                  <a:srgbClr val="000000"/>
                </a:solidFill>
                <a:effectLst/>
                <a:latin typeface="CMR12"/>
              </a:rPr>
              <a:t>A) Audio guidance;</a:t>
            </a:r>
            <a:br>
              <a:rPr lang="en-US" sz="1800" b="0" i="0" dirty="0">
                <a:solidFill>
                  <a:srgbClr val="000000"/>
                </a:solidFill>
                <a:effectLst/>
                <a:latin typeface="CMR12"/>
              </a:rPr>
            </a:br>
            <a:r>
              <a:rPr lang="en-US" sz="1800" b="0" i="0" dirty="0">
                <a:solidFill>
                  <a:srgbClr val="000000"/>
                </a:solidFill>
                <a:effectLst/>
                <a:latin typeface="CMR12"/>
              </a:rPr>
              <a:t>B) Vibration guidance with command;</a:t>
            </a:r>
            <a:br>
              <a:rPr lang="en-US" sz="1800" b="0" i="0" dirty="0">
                <a:solidFill>
                  <a:srgbClr val="000000"/>
                </a:solidFill>
                <a:effectLst/>
                <a:latin typeface="CMR12"/>
              </a:rPr>
            </a:br>
            <a:r>
              <a:rPr lang="en-US" sz="1800" b="0" i="0" dirty="0">
                <a:solidFill>
                  <a:srgbClr val="000000"/>
                </a:solidFill>
                <a:effectLst/>
                <a:latin typeface="CMR12"/>
              </a:rPr>
              <a:t>C) Vibration guidance without command;</a:t>
            </a:r>
            <a:br>
              <a:rPr lang="en-US" sz="1800" b="0" i="0" dirty="0">
                <a:solidFill>
                  <a:srgbClr val="000000"/>
                </a:solidFill>
                <a:effectLst/>
                <a:latin typeface="CMR12"/>
              </a:rPr>
            </a:br>
            <a:r>
              <a:rPr lang="en-US" sz="1800" b="0" i="0" dirty="0">
                <a:solidFill>
                  <a:srgbClr val="000000"/>
                </a:solidFill>
                <a:effectLst/>
                <a:latin typeface="CMR12"/>
              </a:rPr>
              <a:t>D) Mixture of audio and vibration guidance.</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It was also pointed out that the assessment should compare these four methods and the familiar guidance method of the BVI participants among them (e.g. white cane) with each other.</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07177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In Phase 2, the information collected through the interviews of Phase 1 is used to make critical decisions about the virtual environment where the evaluation of the assistive devices will be carried out. It is also used to define which human factors should be assessed. Finally, it contributes to define the guidance methods that should be implemented in the assistive devic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1" dirty="0">
                <a:solidFill>
                  <a:srgbClr val="000000"/>
                </a:solidFill>
                <a:effectLst/>
                <a:latin typeface="CMBXTI10"/>
              </a:rPr>
              <a:t>Step 2.1 Virtual environment specification</a:t>
            </a:r>
            <a:br>
              <a:rPr lang="en-US" sz="1800" b="1" i="1" dirty="0">
                <a:solidFill>
                  <a:srgbClr val="000000"/>
                </a:solidFill>
                <a:effectLst/>
                <a:latin typeface="CMBXTI10"/>
              </a:rPr>
            </a:br>
            <a:endParaRPr lang="en-US" sz="1800" b="1" i="1" dirty="0">
              <a:solidFill>
                <a:srgbClr val="000000"/>
              </a:solidFill>
              <a:effectLst/>
              <a:latin typeface="CMBXTI10"/>
            </a:endParaRPr>
          </a:p>
          <a:p>
            <a:pPr marL="0" lvl="0" indent="0" algn="l" rtl="0">
              <a:spcBef>
                <a:spcPts val="0"/>
              </a:spcBef>
              <a:spcAft>
                <a:spcPts val="0"/>
              </a:spcAft>
              <a:buNone/>
            </a:pPr>
            <a:r>
              <a:rPr lang="en-US" sz="1800" b="0" i="0" dirty="0">
                <a:solidFill>
                  <a:srgbClr val="000000"/>
                </a:solidFill>
                <a:effectLst/>
                <a:latin typeface="CMR12"/>
              </a:rPr>
              <a:t>Based on the data collected during the interviews, the scenario was defined as the hospital or medical clinic reception. The BVI patient should be able to navigate through the reception hall and reach a reception desk. After he/she is registered, the BVI patient should wait until he/she is called and then goes to his/her doctor’s office.</a:t>
            </a:r>
            <a:br>
              <a:rPr lang="en-US" sz="2800" dirty="0"/>
            </a:br>
            <a:br>
              <a:rPr lang="en-US" sz="1800" b="0" i="0" dirty="0">
                <a:solidFill>
                  <a:srgbClr val="000000"/>
                </a:solidFill>
                <a:effectLst/>
                <a:latin typeface="CMR12"/>
              </a:rPr>
            </a:br>
            <a:r>
              <a:rPr lang="en-US" sz="1800" b="0" i="0" dirty="0">
                <a:solidFill>
                  <a:srgbClr val="000000"/>
                </a:solidFill>
                <a:effectLst/>
                <a:latin typeface="CMR12"/>
              </a:rPr>
              <a:t>At this step, a preliminary layout of the virtual environment was sketched, combining the elements that were common to the reception of the two hospitals, such as a waiting area with chairs (some of which should remain empty due to covid distancing), a reception desk, an alcohol totem, among oth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One limitation that had to be taken into account in the specification of the virtual environment is the corresponding physical area (real empty room) that should be available so that the BVI could walk through the real world. while he/she navigates in the virtual world. Typical dimensions of a reception are around 15x20m. Due to the limited space available at the laboratory, the reception was scaled down to fit into the available physical space, with an area of 7x10m but maintaining the same elements (reception desk, waiting area, sanitizer, among oth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1" dirty="0">
                <a:solidFill>
                  <a:srgbClr val="000000"/>
                </a:solidFill>
                <a:effectLst/>
                <a:latin typeface="CMBXTI10"/>
              </a:rPr>
              <a:t>Step 2.2 Assessment specification</a:t>
            </a:r>
            <a:br>
              <a:rPr lang="en-US" sz="1800" b="1" i="1" dirty="0">
                <a:solidFill>
                  <a:srgbClr val="000000"/>
                </a:solidFill>
                <a:effectLst/>
                <a:latin typeface="CMBXTI10"/>
              </a:rPr>
            </a:br>
            <a:r>
              <a:rPr lang="en-US" sz="1800" b="0" i="0" dirty="0">
                <a:solidFill>
                  <a:srgbClr val="000000"/>
                </a:solidFill>
                <a:effectLst/>
                <a:latin typeface="CMR12"/>
              </a:rPr>
              <a:t>Based on the review of the literature and the BVI interviews, the assessment method should include the following dimensions, which were commonly evaluated in previous works:</a:t>
            </a:r>
            <a:br>
              <a:rPr lang="en-US" sz="1800" b="0" i="0" dirty="0">
                <a:solidFill>
                  <a:srgbClr val="000000"/>
                </a:solidFill>
                <a:effectLst/>
                <a:latin typeface="CMR12"/>
              </a:rPr>
            </a:br>
            <a:r>
              <a:rPr lang="en-US" sz="1800" b="0" i="0" dirty="0">
                <a:solidFill>
                  <a:srgbClr val="000000"/>
                </a:solidFill>
                <a:effectLst/>
                <a:latin typeface="CMR12"/>
              </a:rPr>
              <a:t>A) Performance evaluation;</a:t>
            </a:r>
            <a:br>
              <a:rPr lang="en-US" sz="1800" b="0" i="0" dirty="0">
                <a:solidFill>
                  <a:srgbClr val="000000"/>
                </a:solidFill>
                <a:effectLst/>
                <a:latin typeface="CMR12"/>
              </a:rPr>
            </a:br>
            <a:r>
              <a:rPr lang="en-US" sz="1800" b="0" i="0" dirty="0">
                <a:solidFill>
                  <a:srgbClr val="000000"/>
                </a:solidFill>
                <a:effectLst/>
                <a:latin typeface="CMR12"/>
              </a:rPr>
              <a:t>B) Mental workload evaluation.</a:t>
            </a:r>
            <a:br>
              <a:rPr lang="en-US" sz="1800" b="0" i="0" dirty="0">
                <a:solidFill>
                  <a:srgbClr val="000000"/>
                </a:solidFill>
                <a:effectLst/>
                <a:latin typeface="CMR12"/>
              </a:rPr>
            </a:br>
            <a:r>
              <a:rPr lang="en-US" sz="1800" b="0" i="0" dirty="0">
                <a:solidFill>
                  <a:srgbClr val="000000"/>
                </a:solidFill>
                <a:effectLst/>
                <a:latin typeface="CMR12"/>
              </a:rPr>
              <a:t>Additionally, a third dimension was also included, based on lessons learned from the Aeronautics area:</a:t>
            </a:r>
            <a:br>
              <a:rPr lang="en-US" sz="1800" b="0" i="0" dirty="0">
                <a:solidFill>
                  <a:srgbClr val="000000"/>
                </a:solidFill>
                <a:effectLst/>
                <a:latin typeface="CMR12"/>
              </a:rPr>
            </a:br>
            <a:r>
              <a:rPr lang="en-US" sz="1800" b="0" i="0" dirty="0">
                <a:solidFill>
                  <a:srgbClr val="000000"/>
                </a:solidFill>
                <a:effectLst/>
                <a:latin typeface="CMR12"/>
              </a:rPr>
              <a:t>C) Situation awareness evaluation.</a:t>
            </a:r>
            <a:br>
              <a:rPr lang="en-US" sz="1800" b="0" i="0" dirty="0">
                <a:solidFill>
                  <a:srgbClr val="000000"/>
                </a:solidFill>
                <a:effectLst/>
                <a:latin typeface="CMR12"/>
              </a:rPr>
            </a:br>
            <a:r>
              <a:rPr lang="en-US" sz="1800" b="0" i="0" dirty="0">
                <a:solidFill>
                  <a:srgbClr val="000000"/>
                </a:solidFill>
                <a:effectLst/>
                <a:latin typeface="CMR12"/>
              </a:rPr>
              <a:t>This dimension was included to verify if the BVI user can build a mental map of the environment based on the inputs provided by the devices. Finally, a fourth dimension is included for evaluating the user preferences when comparing the assistive devices.</a:t>
            </a:r>
            <a:br>
              <a:rPr lang="en-US" sz="1800" b="0" i="0" dirty="0">
                <a:solidFill>
                  <a:srgbClr val="000000"/>
                </a:solidFill>
                <a:effectLst/>
                <a:latin typeface="CMR12"/>
              </a:rPr>
            </a:br>
            <a:r>
              <a:rPr lang="en-US" sz="1800" b="0" i="0" dirty="0">
                <a:solidFill>
                  <a:srgbClr val="000000"/>
                </a:solidFill>
                <a:effectLst/>
                <a:latin typeface="CMR12"/>
              </a:rPr>
              <a:t>D) Guidance method evalu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br>
              <a:rPr lang="en-US" sz="1800" b="0" i="0" dirty="0">
                <a:solidFill>
                  <a:srgbClr val="000000"/>
                </a:solidFill>
                <a:effectLst/>
                <a:latin typeface="CMR12"/>
              </a:rPr>
            </a:br>
            <a:r>
              <a:rPr lang="en-US" sz="1800" b="1" i="1" dirty="0">
                <a:solidFill>
                  <a:srgbClr val="000000"/>
                </a:solidFill>
                <a:effectLst/>
                <a:latin typeface="CMBXTI10"/>
              </a:rPr>
              <a:t>Step 2.3 Guidance specification</a:t>
            </a:r>
            <a:br>
              <a:rPr lang="en-US" sz="1800" b="1" i="1" dirty="0">
                <a:solidFill>
                  <a:srgbClr val="000000"/>
                </a:solidFill>
                <a:effectLst/>
                <a:latin typeface="CMBXTI10"/>
              </a:rPr>
            </a:br>
            <a:endParaRPr lang="en-US" sz="1800" b="1" i="1" dirty="0">
              <a:solidFill>
                <a:srgbClr val="000000"/>
              </a:solidFill>
              <a:effectLst/>
              <a:latin typeface="CMBXTI10"/>
            </a:endParaRPr>
          </a:p>
          <a:p>
            <a:pPr marL="0" lvl="0" indent="0" algn="l" rtl="0">
              <a:spcBef>
                <a:spcPts val="0"/>
              </a:spcBef>
              <a:spcAft>
                <a:spcPts val="0"/>
              </a:spcAft>
              <a:buNone/>
            </a:pPr>
            <a:r>
              <a:rPr lang="en-US" sz="1800" b="0" i="0" dirty="0">
                <a:solidFill>
                  <a:srgbClr val="000000"/>
                </a:solidFill>
                <a:effectLst/>
                <a:latin typeface="CMR12"/>
              </a:rPr>
              <a:t>Most current solutions for supporting BVI navigation use sound, vibration or both to communicate relevant information about the environment to the user.</a:t>
            </a:r>
            <a:br>
              <a:rPr lang="en-US" sz="2800" dirty="0"/>
            </a:br>
            <a:br>
              <a:rPr lang="en-US" sz="1800" b="0" i="0" dirty="0">
                <a:solidFill>
                  <a:srgbClr val="000000"/>
                </a:solidFill>
                <a:effectLst/>
                <a:latin typeface="CMR12"/>
              </a:rPr>
            </a:br>
            <a:r>
              <a:rPr lang="en-US" sz="1800" b="0" i="0" dirty="0">
                <a:solidFill>
                  <a:srgbClr val="000000"/>
                </a:solidFill>
                <a:effectLst/>
                <a:latin typeface="CMR12"/>
              </a:rPr>
              <a:t>Based on the interviews with BVI consults, the three options were selected to be tested in this work (audio, vibration and audio/vibration combina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Moreover, an exciting property was also evaluated: the effect of information being transmitted with or without the user’s command. This evaluation was applied to the vibration method and resulted in it being split in two variants: one that works around the user and another that works with where he/she decide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In summarizing, four guidance methods were chosen to be evaluated:</a:t>
            </a:r>
            <a:br>
              <a:rPr lang="en-US" sz="1800" b="0" i="0" dirty="0">
                <a:solidFill>
                  <a:srgbClr val="000000"/>
                </a:solidFill>
                <a:effectLst/>
                <a:latin typeface="CMR12"/>
              </a:rPr>
            </a:br>
            <a:r>
              <a:rPr lang="en-US" sz="1800" b="0" i="0" dirty="0">
                <a:solidFill>
                  <a:srgbClr val="000000"/>
                </a:solidFill>
                <a:effectLst/>
                <a:latin typeface="CMR12"/>
              </a:rPr>
              <a:t>A) Audio guidance;</a:t>
            </a:r>
            <a:br>
              <a:rPr lang="en-US" sz="1800" b="0" i="0" dirty="0">
                <a:solidFill>
                  <a:srgbClr val="000000"/>
                </a:solidFill>
                <a:effectLst/>
                <a:latin typeface="CMR12"/>
              </a:rPr>
            </a:br>
            <a:r>
              <a:rPr lang="en-US" sz="1800" b="0" i="0" dirty="0">
                <a:solidFill>
                  <a:srgbClr val="000000"/>
                </a:solidFill>
                <a:effectLst/>
                <a:latin typeface="CMR12"/>
              </a:rPr>
              <a:t>B) Vibration guidance with command;</a:t>
            </a:r>
            <a:br>
              <a:rPr lang="en-US" sz="1800" b="0" i="0" dirty="0">
                <a:solidFill>
                  <a:srgbClr val="000000"/>
                </a:solidFill>
                <a:effectLst/>
                <a:latin typeface="CMR12"/>
              </a:rPr>
            </a:br>
            <a:r>
              <a:rPr lang="en-US" sz="1800" b="0" i="0" dirty="0">
                <a:solidFill>
                  <a:srgbClr val="000000"/>
                </a:solidFill>
                <a:effectLst/>
                <a:latin typeface="CMR12"/>
              </a:rPr>
              <a:t>C) Vibration guidance without command;</a:t>
            </a:r>
            <a:br>
              <a:rPr lang="en-US" sz="1800" b="0" i="0" dirty="0">
                <a:solidFill>
                  <a:srgbClr val="000000"/>
                </a:solidFill>
                <a:effectLst/>
                <a:latin typeface="CMR12"/>
              </a:rPr>
            </a:br>
            <a:r>
              <a:rPr lang="en-US" sz="1800" b="0" i="0" dirty="0">
                <a:solidFill>
                  <a:srgbClr val="000000"/>
                </a:solidFill>
                <a:effectLst/>
                <a:latin typeface="CMR12"/>
              </a:rPr>
              <a:t>D) Mixture of audio and vibration guidance.</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It was also pointed out that the assessment should compare these four methods and the familiar guidance method of the BVI participants among them (e.g. white cane) with each other.</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604133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In Phase 2, the information collected through the interviews of Phase 1 is used to make critical decisions about the virtual environment where the evaluation of the assistive devices will be carried out. It is also used to define which human factors should be assessed. Finally, it contributes to define the guidance methods that should be implemented in the assistive devic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1" dirty="0">
                <a:solidFill>
                  <a:srgbClr val="000000"/>
                </a:solidFill>
                <a:effectLst/>
                <a:latin typeface="CMBXTI10"/>
              </a:rPr>
              <a:t>Step 2.1 Virtual environment specification</a:t>
            </a:r>
            <a:br>
              <a:rPr lang="en-US" sz="1800" b="1" i="1" dirty="0">
                <a:solidFill>
                  <a:srgbClr val="000000"/>
                </a:solidFill>
                <a:effectLst/>
                <a:latin typeface="CMBXTI10"/>
              </a:rPr>
            </a:br>
            <a:endParaRPr lang="en-US" sz="1800" b="1" i="1" dirty="0">
              <a:solidFill>
                <a:srgbClr val="000000"/>
              </a:solidFill>
              <a:effectLst/>
              <a:latin typeface="CMBXTI10"/>
            </a:endParaRPr>
          </a:p>
          <a:p>
            <a:pPr marL="0" lvl="0" indent="0" algn="l" rtl="0">
              <a:spcBef>
                <a:spcPts val="0"/>
              </a:spcBef>
              <a:spcAft>
                <a:spcPts val="0"/>
              </a:spcAft>
              <a:buNone/>
            </a:pPr>
            <a:r>
              <a:rPr lang="en-US" sz="1800" b="0" i="0" dirty="0">
                <a:solidFill>
                  <a:srgbClr val="000000"/>
                </a:solidFill>
                <a:effectLst/>
                <a:latin typeface="CMR12"/>
              </a:rPr>
              <a:t>Based on the data collected during the interviews, the scenario was defined as the hospital or medical clinic reception. The BVI patient should be able to navigate through the reception hall and reach a reception desk. After he/she is registered, the BVI patient should wait until he/she is called and then goes to his/her doctor’s office.</a:t>
            </a:r>
            <a:br>
              <a:rPr lang="en-US" sz="2800" dirty="0"/>
            </a:br>
            <a:br>
              <a:rPr lang="en-US" sz="1800" b="0" i="0" dirty="0">
                <a:solidFill>
                  <a:srgbClr val="000000"/>
                </a:solidFill>
                <a:effectLst/>
                <a:latin typeface="CMR12"/>
              </a:rPr>
            </a:br>
            <a:r>
              <a:rPr lang="en-US" sz="1800" b="0" i="0" dirty="0">
                <a:solidFill>
                  <a:srgbClr val="000000"/>
                </a:solidFill>
                <a:effectLst/>
                <a:latin typeface="CMR12"/>
              </a:rPr>
              <a:t>At this step, a preliminary layout of the virtual environment was sketched, combining the elements that were common to the reception of the two hospitals, such as a waiting area with chairs (some of which should remain empty due to covid distancing), a reception desk, an alcohol totem, among oth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One limitation that had to be taken into account in the specification of the virtual environment is the corresponding physical area (real empty room) that should be available so that the BVI could walk through the real world. while he/she navigates in the virtual world. Typical dimensions of a reception are around 15x20m. Due to the limited space available at the laboratory, the reception was scaled down to fit into the available physical space, with an area of 7x10m but maintaining the same elements (reception desk, waiting area, sanitizer, among oth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1" dirty="0">
                <a:solidFill>
                  <a:srgbClr val="000000"/>
                </a:solidFill>
                <a:effectLst/>
                <a:latin typeface="CMBXTI10"/>
              </a:rPr>
              <a:t>Step 2.2 Assessment specification</a:t>
            </a:r>
            <a:br>
              <a:rPr lang="en-US" sz="1800" b="1" i="1" dirty="0">
                <a:solidFill>
                  <a:srgbClr val="000000"/>
                </a:solidFill>
                <a:effectLst/>
                <a:latin typeface="CMBXTI10"/>
              </a:rPr>
            </a:br>
            <a:r>
              <a:rPr lang="en-US" sz="1800" b="0" i="0" dirty="0">
                <a:solidFill>
                  <a:srgbClr val="000000"/>
                </a:solidFill>
                <a:effectLst/>
                <a:latin typeface="CMR12"/>
              </a:rPr>
              <a:t>Based on the review of the literature and the BVI interviews, the assessment method should include the following dimensions, which were commonly evaluated in previous works:</a:t>
            </a:r>
            <a:br>
              <a:rPr lang="en-US" sz="1800" b="0" i="0" dirty="0">
                <a:solidFill>
                  <a:srgbClr val="000000"/>
                </a:solidFill>
                <a:effectLst/>
                <a:latin typeface="CMR12"/>
              </a:rPr>
            </a:br>
            <a:r>
              <a:rPr lang="en-US" sz="1800" b="0" i="0" dirty="0">
                <a:solidFill>
                  <a:srgbClr val="000000"/>
                </a:solidFill>
                <a:effectLst/>
                <a:latin typeface="CMR12"/>
              </a:rPr>
              <a:t>A) Performance evaluation;</a:t>
            </a:r>
            <a:br>
              <a:rPr lang="en-US" sz="1800" b="0" i="0" dirty="0">
                <a:solidFill>
                  <a:srgbClr val="000000"/>
                </a:solidFill>
                <a:effectLst/>
                <a:latin typeface="CMR12"/>
              </a:rPr>
            </a:br>
            <a:r>
              <a:rPr lang="en-US" sz="1800" b="0" i="0" dirty="0">
                <a:solidFill>
                  <a:srgbClr val="000000"/>
                </a:solidFill>
                <a:effectLst/>
                <a:latin typeface="CMR12"/>
              </a:rPr>
              <a:t>B) Mental workload evaluation.</a:t>
            </a:r>
            <a:br>
              <a:rPr lang="en-US" sz="1800" b="0" i="0" dirty="0">
                <a:solidFill>
                  <a:srgbClr val="000000"/>
                </a:solidFill>
                <a:effectLst/>
                <a:latin typeface="CMR12"/>
              </a:rPr>
            </a:br>
            <a:r>
              <a:rPr lang="en-US" sz="1800" b="0" i="0" dirty="0">
                <a:solidFill>
                  <a:srgbClr val="000000"/>
                </a:solidFill>
                <a:effectLst/>
                <a:latin typeface="CMR12"/>
              </a:rPr>
              <a:t>Additionally, a third dimension was also included, based on lessons learned from the Aeronautics area:</a:t>
            </a:r>
            <a:br>
              <a:rPr lang="en-US" sz="1800" b="0" i="0" dirty="0">
                <a:solidFill>
                  <a:srgbClr val="000000"/>
                </a:solidFill>
                <a:effectLst/>
                <a:latin typeface="CMR12"/>
              </a:rPr>
            </a:br>
            <a:r>
              <a:rPr lang="en-US" sz="1800" b="0" i="0" dirty="0">
                <a:solidFill>
                  <a:srgbClr val="000000"/>
                </a:solidFill>
                <a:effectLst/>
                <a:latin typeface="CMR12"/>
              </a:rPr>
              <a:t>C) Situation awareness evaluation.</a:t>
            </a:r>
            <a:br>
              <a:rPr lang="en-US" sz="1800" b="0" i="0" dirty="0">
                <a:solidFill>
                  <a:srgbClr val="000000"/>
                </a:solidFill>
                <a:effectLst/>
                <a:latin typeface="CMR12"/>
              </a:rPr>
            </a:br>
            <a:r>
              <a:rPr lang="en-US" sz="1800" b="0" i="0" dirty="0">
                <a:solidFill>
                  <a:srgbClr val="000000"/>
                </a:solidFill>
                <a:effectLst/>
                <a:latin typeface="CMR12"/>
              </a:rPr>
              <a:t>This dimension was included to verify if the BVI user can build a mental map of the environment based on the inputs provided by the devices. Finally, a fourth dimension is included for evaluating the user preferences when comparing the assistive devices.</a:t>
            </a:r>
            <a:br>
              <a:rPr lang="en-US" sz="1800" b="0" i="0" dirty="0">
                <a:solidFill>
                  <a:srgbClr val="000000"/>
                </a:solidFill>
                <a:effectLst/>
                <a:latin typeface="CMR12"/>
              </a:rPr>
            </a:br>
            <a:r>
              <a:rPr lang="en-US" sz="1800" b="0" i="0" dirty="0">
                <a:solidFill>
                  <a:srgbClr val="000000"/>
                </a:solidFill>
                <a:effectLst/>
                <a:latin typeface="CMR12"/>
              </a:rPr>
              <a:t>D) Guidance method evalu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br>
              <a:rPr lang="en-US" sz="1800" b="0" i="0" dirty="0">
                <a:solidFill>
                  <a:srgbClr val="000000"/>
                </a:solidFill>
                <a:effectLst/>
                <a:latin typeface="CMR12"/>
              </a:rPr>
            </a:br>
            <a:r>
              <a:rPr lang="en-US" sz="1800" b="1" i="1" dirty="0">
                <a:solidFill>
                  <a:srgbClr val="000000"/>
                </a:solidFill>
                <a:effectLst/>
                <a:latin typeface="CMBXTI10"/>
              </a:rPr>
              <a:t>Step 2.3 Guidance specification</a:t>
            </a:r>
            <a:br>
              <a:rPr lang="en-US" sz="1800" b="1" i="1" dirty="0">
                <a:solidFill>
                  <a:srgbClr val="000000"/>
                </a:solidFill>
                <a:effectLst/>
                <a:latin typeface="CMBXTI10"/>
              </a:rPr>
            </a:br>
            <a:endParaRPr lang="en-US" sz="1800" b="1" i="1" dirty="0">
              <a:solidFill>
                <a:srgbClr val="000000"/>
              </a:solidFill>
              <a:effectLst/>
              <a:latin typeface="CMBXTI10"/>
            </a:endParaRPr>
          </a:p>
          <a:p>
            <a:pPr marL="0" lvl="0" indent="0" algn="l" rtl="0">
              <a:spcBef>
                <a:spcPts val="0"/>
              </a:spcBef>
              <a:spcAft>
                <a:spcPts val="0"/>
              </a:spcAft>
              <a:buNone/>
            </a:pPr>
            <a:r>
              <a:rPr lang="en-US" sz="1800" b="0" i="0" dirty="0">
                <a:solidFill>
                  <a:srgbClr val="000000"/>
                </a:solidFill>
                <a:effectLst/>
                <a:latin typeface="CMR12"/>
              </a:rPr>
              <a:t>Most current solutions for supporting BVI navigation use sound, vibration or both to communicate relevant information about the environment to the user.</a:t>
            </a:r>
            <a:br>
              <a:rPr lang="en-US" sz="2800" dirty="0"/>
            </a:br>
            <a:br>
              <a:rPr lang="en-US" sz="1800" b="0" i="0" dirty="0">
                <a:solidFill>
                  <a:srgbClr val="000000"/>
                </a:solidFill>
                <a:effectLst/>
                <a:latin typeface="CMR12"/>
              </a:rPr>
            </a:br>
            <a:r>
              <a:rPr lang="en-US" sz="1800" b="0" i="0" dirty="0">
                <a:solidFill>
                  <a:srgbClr val="000000"/>
                </a:solidFill>
                <a:effectLst/>
                <a:latin typeface="CMR12"/>
              </a:rPr>
              <a:t>Based on the interviews with BVI consults, the three options were selected to be tested in this work (audio, vibration and audio/vibration combina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Moreover, an exciting property was also evaluated: the effect of information being transmitted with or without the user’s command. This evaluation was applied to the vibration method and resulted in it being split in two variants: one that works around the user and another that works with where he/she decide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In summarizing, four guidance methods were chosen to be evaluated:</a:t>
            </a:r>
            <a:br>
              <a:rPr lang="en-US" sz="1800" b="0" i="0" dirty="0">
                <a:solidFill>
                  <a:srgbClr val="000000"/>
                </a:solidFill>
                <a:effectLst/>
                <a:latin typeface="CMR12"/>
              </a:rPr>
            </a:br>
            <a:r>
              <a:rPr lang="en-US" sz="1800" b="0" i="0" dirty="0">
                <a:solidFill>
                  <a:srgbClr val="000000"/>
                </a:solidFill>
                <a:effectLst/>
                <a:latin typeface="CMR12"/>
              </a:rPr>
              <a:t>A) Audio guidance;</a:t>
            </a:r>
            <a:br>
              <a:rPr lang="en-US" sz="1800" b="0" i="0" dirty="0">
                <a:solidFill>
                  <a:srgbClr val="000000"/>
                </a:solidFill>
                <a:effectLst/>
                <a:latin typeface="CMR12"/>
              </a:rPr>
            </a:br>
            <a:r>
              <a:rPr lang="en-US" sz="1800" b="0" i="0" dirty="0">
                <a:solidFill>
                  <a:srgbClr val="000000"/>
                </a:solidFill>
                <a:effectLst/>
                <a:latin typeface="CMR12"/>
              </a:rPr>
              <a:t>B) Vibration guidance with command;</a:t>
            </a:r>
            <a:br>
              <a:rPr lang="en-US" sz="1800" b="0" i="0" dirty="0">
                <a:solidFill>
                  <a:srgbClr val="000000"/>
                </a:solidFill>
                <a:effectLst/>
                <a:latin typeface="CMR12"/>
              </a:rPr>
            </a:br>
            <a:r>
              <a:rPr lang="en-US" sz="1800" b="0" i="0" dirty="0">
                <a:solidFill>
                  <a:srgbClr val="000000"/>
                </a:solidFill>
                <a:effectLst/>
                <a:latin typeface="CMR12"/>
              </a:rPr>
              <a:t>C) Vibration guidance without command;</a:t>
            </a:r>
            <a:br>
              <a:rPr lang="en-US" sz="1800" b="0" i="0" dirty="0">
                <a:solidFill>
                  <a:srgbClr val="000000"/>
                </a:solidFill>
                <a:effectLst/>
                <a:latin typeface="CMR12"/>
              </a:rPr>
            </a:br>
            <a:r>
              <a:rPr lang="en-US" sz="1800" b="0" i="0" dirty="0">
                <a:solidFill>
                  <a:srgbClr val="000000"/>
                </a:solidFill>
                <a:effectLst/>
                <a:latin typeface="CMR12"/>
              </a:rPr>
              <a:t>D) Mixture of audio and vibration guidance.</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It was also pointed out that the assessment should compare these four methods and the familiar guidance method of the BVI participants among them (e.g. white cane) with each other.</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720570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553593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 </a:t>
            </a:r>
            <a:r>
              <a:rPr lang="en-US" sz="1800" b="0" i="0" dirty="0">
                <a:solidFill>
                  <a:srgbClr val="000000"/>
                </a:solidFill>
                <a:effectLst/>
                <a:latin typeface="CMR12"/>
              </a:rPr>
              <a:t>The example presented in this work showed that it is possible to evaluate both situation awareness and workload using experiments performed in a virtual environment. The tests performed in the virtual environment made possible the comparison of the assistive devices both qualitatively and quantitatively.</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However, some limitations were identified during the development of this work, regarding both the virtual environment and the assessment techniques. One of the most recurrent observations was the unsatisfactory quality of the sound system. According to blind participants, the headphone of the VIVE HMD does not provide sounds with a quality good enough for them to locate the source of a sound. A</a:t>
            </a:r>
            <a:br>
              <a:rPr lang="en-US" sz="1800" b="0" i="0" dirty="0">
                <a:solidFill>
                  <a:srgbClr val="000000"/>
                </a:solidFill>
                <a:effectLst/>
                <a:latin typeface="CMR12"/>
              </a:rPr>
            </a:br>
            <a:r>
              <a:rPr lang="en-US" sz="1800" b="0" i="0" dirty="0">
                <a:solidFill>
                  <a:srgbClr val="000000"/>
                </a:solidFill>
                <a:effectLst/>
                <a:latin typeface="CMR12"/>
              </a:rPr>
              <a:t>regular comment was, “I feel like the sound origin is inside my head”. This limitation may be solved by placing a sound source in the real environment and use the HMD only for localizing the participant in the virtual environment.</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Another limitation is the actual position of the furniture. After a first round, the furniture was not precisely aligned with its virtual model. A future solution for this problem would be to use a locator on each piece of furniture.</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Among the main limitations identified during this work, it is worth mentioning the failure to detect collisions in the virtual environment, which could be solved by integrating sensors that monitor the position of each arm and leg of the user.</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Regarding the assessment methods for evaluating human factors, the physiological sensors did not show any systematic difference among the methods under analysis. This result may be due the noise in the sensors’ data, compromising its quality. Another problem is that the low number of participants may compromise the statistical analysis, due to the large variability among user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7399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a:solidFill>
                  <a:srgbClr val="000000"/>
                </a:solidFill>
                <a:effectLst/>
                <a:latin typeface="CMR12"/>
              </a:rPr>
              <a:t>• Comparing </a:t>
            </a:r>
            <a:r>
              <a:rPr lang="en-US" sz="1800" b="0" i="0" dirty="0">
                <a:solidFill>
                  <a:srgbClr val="000000"/>
                </a:solidFill>
                <a:effectLst/>
                <a:latin typeface="CMR12"/>
              </a:rPr>
              <a:t>the results of the experiments performed with blind and sighted participants, some differences were observed. Among the most important, is the relative evaluation of audio and haptic devices. Due to their enhanced sensitivity to sounds, BVI users tend to evaluate audio solutions better than non-BVI. Also, the effect of repeating a task in the same environment, i.e., performing different rounds of the same experiment, may differ between sighted and blind us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Generally, the results reinforce the importance of having BVI users involved in the design of assistive devices from the early stages of the specification of requirement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438619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a:solidFill>
                  <a:srgbClr val="000000"/>
                </a:solidFill>
                <a:effectLst/>
                <a:latin typeface="CMR12"/>
              </a:rPr>
              <a:t>• Comparing </a:t>
            </a:r>
            <a:r>
              <a:rPr lang="en-US" sz="1800" b="0" i="0" dirty="0">
                <a:solidFill>
                  <a:srgbClr val="000000"/>
                </a:solidFill>
                <a:effectLst/>
                <a:latin typeface="CMR12"/>
              </a:rPr>
              <a:t>the results of the experiments performed with blind and sighted participants, some differences were observed. Among the most important, is the relative evaluation of audio and haptic devices. Due to their enhanced sensitivity to sounds, BVI users tend to evaluate audio solutions better than non-BVI. Also, the effect of repeating a task in the same environment, i.e., performing different rounds of the same experiment, may differ between sighted and blind us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Generally, the results reinforce the importance of having BVI users involved in the design of assistive devices from the early stages of the specification of requirement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43006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20" name="Google Shape;720;p3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72596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32910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9880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88456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6294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92687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lide de título">
  <p:cSld name="Slide de título">
    <p:spTree>
      <p:nvGrpSpPr>
        <p:cNvPr id="1" name="Shape 13"/>
        <p:cNvGrpSpPr/>
        <p:nvPr/>
      </p:nvGrpSpPr>
      <p:grpSpPr>
        <a:xfrm>
          <a:off x="0" y="0"/>
          <a:ext cx="0" cy="0"/>
          <a:chOff x="0" y="0"/>
          <a:chExt cx="0" cy="0"/>
        </a:xfrm>
      </p:grpSpPr>
      <p:sp>
        <p:nvSpPr>
          <p:cNvPr id="14" name="Google Shape;14;p2"/>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15" name="Google Shape;15;p2"/>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6" name="Google Shape;16;p2"/>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7" name="Google Shape;17;p2"/>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8" name="Google Shape;18;p2"/>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9" name="Google Shape;19;p2"/>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2"/>
          <p:cNvSpPr txBox="1">
            <a:spLocks noGrp="1"/>
          </p:cNvSpPr>
          <p:nvPr>
            <p:ph type="body" idx="2"/>
          </p:nvPr>
        </p:nvSpPr>
        <p:spPr>
          <a:xfrm>
            <a:off x="3906629" y="1980529"/>
            <a:ext cx="5472000" cy="1639941"/>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chemeClr val="dk1"/>
              </a:buClr>
              <a:buSzPts val="3600"/>
              <a:buNone/>
              <a:defRPr sz="3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 name="Google Shape;21;p2"/>
          <p:cNvSpPr txBox="1">
            <a:spLocks noGrp="1"/>
          </p:cNvSpPr>
          <p:nvPr>
            <p:ph type="body" idx="3"/>
          </p:nvPr>
        </p:nvSpPr>
        <p:spPr>
          <a:xfrm>
            <a:off x="3906629" y="4049720"/>
            <a:ext cx="5472000" cy="382587"/>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lvl1pPr marL="457200" lvl="0" indent="-228600" algn="r">
              <a:lnSpc>
                <a:spcPct val="90000"/>
              </a:lnSpc>
              <a:spcBef>
                <a:spcPts val="1000"/>
              </a:spcBef>
              <a:spcAft>
                <a:spcPts val="0"/>
              </a:spcAft>
              <a:buClr>
                <a:srgbClr val="555555"/>
              </a:buClr>
              <a:buSzPts val="1600"/>
              <a:buNone/>
              <a:defRPr sz="16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Imagem com Legenda" type="picTx">
  <p:cSld name="PICTURE_WITH_CAPTION_TEXT">
    <p:spTree>
      <p:nvGrpSpPr>
        <p:cNvPr id="1" name="Shape 206"/>
        <p:cNvGrpSpPr/>
        <p:nvPr/>
      </p:nvGrpSpPr>
      <p:grpSpPr>
        <a:xfrm>
          <a:off x="0" y="0"/>
          <a:ext cx="0" cy="0"/>
          <a:chOff x="0" y="0"/>
          <a:chExt cx="0" cy="0"/>
        </a:xfrm>
      </p:grpSpPr>
      <p:sp>
        <p:nvSpPr>
          <p:cNvPr id="207" name="Google Shape;207;p27"/>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 name="Google Shape;208;p27"/>
          <p:cNvSpPr>
            <a:spLocks noGrp="1"/>
          </p:cNvSpPr>
          <p:nvPr>
            <p:ph type="pic" idx="2"/>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09" name="Google Shape;209;p27"/>
          <p:cNvSpPr txBox="1">
            <a:spLocks noGrp="1"/>
          </p:cNvSpPr>
          <p:nvPr>
            <p:ph type="body" idx="1"/>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10" name="Google Shape;210;p27"/>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1" name="Google Shape;211;p27"/>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2" name="Google Shape;212;p27"/>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ítulo e texto vertical" type="vertTx">
  <p:cSld name="VERTICAL_TEXT">
    <p:spTree>
      <p:nvGrpSpPr>
        <p:cNvPr id="1" name="Shape 213"/>
        <p:cNvGrpSpPr/>
        <p:nvPr/>
      </p:nvGrpSpPr>
      <p:grpSpPr>
        <a:xfrm>
          <a:off x="0" y="0"/>
          <a:ext cx="0" cy="0"/>
          <a:chOff x="0" y="0"/>
          <a:chExt cx="0" cy="0"/>
        </a:xfrm>
      </p:grpSpPr>
      <p:sp>
        <p:nvSpPr>
          <p:cNvPr id="214" name="Google Shape;214;p28"/>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 name="Google Shape;215;p28"/>
          <p:cNvSpPr txBox="1">
            <a:spLocks noGrp="1"/>
          </p:cNvSpPr>
          <p:nvPr>
            <p:ph type="body" idx="1"/>
          </p:nvPr>
        </p:nvSpPr>
        <p:spPr>
          <a:xfrm rot="5400000">
            <a:off x="2674143" y="-181670"/>
            <a:ext cx="4351338" cy="8365927"/>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 name="Google Shape;216;p28"/>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7" name="Google Shape;217;p28"/>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8" name="Google Shape;218;p28"/>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VERTICAL_TITLE_AND_VERTICAL_TEXT">
    <p:spTree>
      <p:nvGrpSpPr>
        <p:cNvPr id="1" name="Shape 219"/>
        <p:cNvGrpSpPr/>
        <p:nvPr/>
      </p:nvGrpSpPr>
      <p:grpSpPr>
        <a:xfrm>
          <a:off x="0" y="0"/>
          <a:ext cx="0" cy="0"/>
          <a:chOff x="0" y="0"/>
          <a:chExt cx="0" cy="0"/>
        </a:xfrm>
      </p:grpSpPr>
      <p:sp>
        <p:nvSpPr>
          <p:cNvPr id="220" name="Google Shape;220;p29"/>
          <p:cNvSpPr txBox="1">
            <a:spLocks noGrp="1"/>
          </p:cNvSpPr>
          <p:nvPr>
            <p:ph type="title"/>
          </p:nvPr>
        </p:nvSpPr>
        <p:spPr>
          <a:xfrm rot="5400000">
            <a:off x="5081116" y="2225303"/>
            <a:ext cx="5811838" cy="2091482"/>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 name="Google Shape;221;p29"/>
          <p:cNvSpPr txBox="1">
            <a:spLocks noGrp="1"/>
          </p:cNvSpPr>
          <p:nvPr>
            <p:ph type="body" idx="1"/>
          </p:nvPr>
        </p:nvSpPr>
        <p:spPr>
          <a:xfrm rot="5400000">
            <a:off x="837531" y="194444"/>
            <a:ext cx="5811838" cy="6153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p29"/>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3" name="Google Shape;223;p29"/>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4" name="Google Shape;224;p29"/>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ítulo e conteúdo">
  <p:cSld name="Título e conteúdo">
    <p:spTree>
      <p:nvGrpSpPr>
        <p:cNvPr id="1" name="Shape 23"/>
        <p:cNvGrpSpPr/>
        <p:nvPr/>
      </p:nvGrpSpPr>
      <p:grpSpPr>
        <a:xfrm>
          <a:off x="0" y="0"/>
          <a:ext cx="0" cy="0"/>
          <a:chOff x="0" y="0"/>
          <a:chExt cx="0" cy="0"/>
        </a:xfrm>
      </p:grpSpPr>
      <p:sp>
        <p:nvSpPr>
          <p:cNvPr id="24" name="Google Shape;24;p3"/>
          <p:cNvSpPr txBox="1">
            <a:spLocks noGrp="1"/>
          </p:cNvSpPr>
          <p:nvPr>
            <p:ph type="body" idx="1"/>
          </p:nvPr>
        </p:nvSpPr>
        <p:spPr>
          <a:xfrm>
            <a:off x="334949" y="792000"/>
            <a:ext cx="9043200" cy="5226663"/>
          </a:xfrm>
          <a:prstGeom prst="rect">
            <a:avLst/>
          </a:prstGeom>
          <a:noFill/>
          <a:ln>
            <a:noFill/>
          </a:ln>
        </p:spPr>
        <p:txBody>
          <a:bodyPr spcFirstLastPara="1" wrap="square" lIns="91425" tIns="45700" rIns="91425" bIns="45700" anchor="t" anchorCtr="0">
            <a:noAutofit/>
          </a:bodyPr>
          <a:lstStyle>
            <a:lvl1pPr marL="457200" lvl="0" indent="-396240" algn="l">
              <a:lnSpc>
                <a:spcPct val="90000"/>
              </a:lnSpc>
              <a:spcBef>
                <a:spcPts val="1000"/>
              </a:spcBef>
              <a:spcAft>
                <a:spcPts val="0"/>
              </a:spcAft>
              <a:buClr>
                <a:srgbClr val="193278"/>
              </a:buClr>
              <a:buSzPts val="2640"/>
              <a:buFont typeface="Noto Sans Symbols"/>
              <a:buChar char="▪"/>
              <a:defRPr sz="2200">
                <a:solidFill>
                  <a:schemeClr val="dk1"/>
                </a:solidFill>
              </a:defRPr>
            </a:lvl1pPr>
            <a:lvl2pPr marL="914400" lvl="1" indent="-292100" algn="l">
              <a:lnSpc>
                <a:spcPct val="90000"/>
              </a:lnSpc>
              <a:spcBef>
                <a:spcPts val="600"/>
              </a:spcBef>
              <a:spcAft>
                <a:spcPts val="0"/>
              </a:spcAft>
              <a:buClr>
                <a:srgbClr val="193278"/>
              </a:buClr>
              <a:buSzPts val="1000"/>
              <a:buFont typeface="Noto Sans Symbols"/>
              <a:buChar char="❑"/>
              <a:defRPr sz="2000"/>
            </a:lvl2pPr>
            <a:lvl3pPr marL="1371600" lvl="2" indent="-355600" algn="l">
              <a:lnSpc>
                <a:spcPct val="90000"/>
              </a:lnSpc>
              <a:spcBef>
                <a:spcPts val="600"/>
              </a:spcBef>
              <a:spcAft>
                <a:spcPts val="0"/>
              </a:spcAft>
              <a:buClr>
                <a:srgbClr val="193278"/>
              </a:buClr>
              <a:buSzPts val="2000"/>
              <a:buFont typeface="Calibri"/>
              <a:buChar char="–"/>
              <a:defRPr/>
            </a:lvl3pPr>
            <a:lvl4pPr marL="1828800" lvl="3" indent="-342900" algn="l">
              <a:lnSpc>
                <a:spcPct val="90000"/>
              </a:lnSpc>
              <a:spcBef>
                <a:spcPts val="6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5" name="Google Shape;25;p3"/>
          <p:cNvPicPr preferRelativeResize="0"/>
          <p:nvPr/>
        </p:nvPicPr>
        <p:blipFill rotWithShape="1">
          <a:blip r:embed="rId2">
            <a:alphaModFix/>
          </a:blip>
          <a:srcRect/>
          <a:stretch/>
        </p:blipFill>
        <p:spPr>
          <a:xfrm>
            <a:off x="341701" y="6317788"/>
            <a:ext cx="1126302" cy="432000"/>
          </a:xfrm>
          <a:prstGeom prst="rect">
            <a:avLst/>
          </a:prstGeom>
          <a:noFill/>
          <a:ln>
            <a:noFill/>
          </a:ln>
        </p:spPr>
      </p:pic>
      <p:pic>
        <p:nvPicPr>
          <p:cNvPr id="26" name="Google Shape;26;p3"/>
          <p:cNvPicPr preferRelativeResize="0"/>
          <p:nvPr/>
        </p:nvPicPr>
        <p:blipFill rotWithShape="1">
          <a:blip r:embed="rId3">
            <a:alphaModFix/>
          </a:blip>
          <a:srcRect/>
          <a:stretch/>
        </p:blipFill>
        <p:spPr>
          <a:xfrm>
            <a:off x="1580029" y="6330273"/>
            <a:ext cx="545768" cy="407030"/>
          </a:xfrm>
          <a:prstGeom prst="rect">
            <a:avLst/>
          </a:prstGeom>
          <a:noFill/>
          <a:ln>
            <a:noFill/>
          </a:ln>
        </p:spPr>
      </p:pic>
      <p:pic>
        <p:nvPicPr>
          <p:cNvPr id="27" name="Google Shape;27;p3"/>
          <p:cNvPicPr preferRelativeResize="0"/>
          <p:nvPr/>
        </p:nvPicPr>
        <p:blipFill rotWithShape="1">
          <a:blip r:embed="rId4">
            <a:alphaModFix/>
          </a:blip>
          <a:srcRect l="39543" t="19727" r="4201" b="21853"/>
          <a:stretch/>
        </p:blipFill>
        <p:spPr>
          <a:xfrm>
            <a:off x="2175481" y="6336095"/>
            <a:ext cx="1074110" cy="407032"/>
          </a:xfrm>
          <a:prstGeom prst="rect">
            <a:avLst/>
          </a:prstGeom>
          <a:noFill/>
          <a:ln>
            <a:noFill/>
          </a:ln>
        </p:spPr>
      </p:pic>
      <p:cxnSp>
        <p:nvCxnSpPr>
          <p:cNvPr id="28" name="Google Shape;28;p3"/>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sp>
        <p:nvSpPr>
          <p:cNvPr id="29" name="Google Shape;29;p3"/>
          <p:cNvSpPr/>
          <p:nvPr/>
        </p:nvSpPr>
        <p:spPr>
          <a:xfrm>
            <a:off x="-375724" y="72000"/>
            <a:ext cx="9975942" cy="576000"/>
          </a:xfrm>
          <a:prstGeom prst="roundRect">
            <a:avLst>
              <a:gd name="adj" fmla="val 16667"/>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3"/>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55555"/>
              </a:buClr>
              <a:buSzPts val="2400"/>
              <a:buNone/>
              <a:defRPr sz="24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
          <p:cNvSpPr txBox="1">
            <a:spLocks noGrp="1"/>
          </p:cNvSpPr>
          <p:nvPr>
            <p:ph type="body" idx="3"/>
          </p:nvPr>
        </p:nvSpPr>
        <p:spPr>
          <a:xfrm>
            <a:off x="334949" y="5950424"/>
            <a:ext cx="4598609" cy="230832"/>
          </a:xfrm>
          <a:prstGeom prst="rect">
            <a:avLst/>
          </a:prstGeom>
          <a:noFill/>
          <a:ln>
            <a:noFill/>
          </a:ln>
        </p:spPr>
        <p:txBody>
          <a:bodyPr spcFirstLastPara="1" wrap="square" lIns="0" tIns="0" rIns="0" bIns="45700" anchor="b" anchorCtr="0">
            <a:noAutofit/>
          </a:bodyPr>
          <a:lstStyle>
            <a:lvl1pPr marL="457200" lvl="0" indent="-228600" algn="l">
              <a:lnSpc>
                <a:spcPct val="100000"/>
              </a:lnSpc>
              <a:spcBef>
                <a:spcPts val="0"/>
              </a:spcBef>
              <a:spcAft>
                <a:spcPts val="0"/>
              </a:spcAft>
              <a:buClr>
                <a:schemeClr val="dk1"/>
              </a:buClr>
              <a:buSzPts val="1200"/>
              <a:buNone/>
              <a:defRPr sz="1200" b="0" i="0" u="none">
                <a:solidFill>
                  <a:schemeClr val="dk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Final">
  <p:cSld name="Final">
    <p:spTree>
      <p:nvGrpSpPr>
        <p:cNvPr id="1" name="Shape 152"/>
        <p:cNvGrpSpPr/>
        <p:nvPr/>
      </p:nvGrpSpPr>
      <p:grpSpPr>
        <a:xfrm>
          <a:off x="0" y="0"/>
          <a:ext cx="0" cy="0"/>
          <a:chOff x="0" y="0"/>
          <a:chExt cx="0" cy="0"/>
        </a:xfrm>
      </p:grpSpPr>
      <p:sp>
        <p:nvSpPr>
          <p:cNvPr id="153" name="Google Shape;153;p19"/>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54" name="Google Shape;154;p19"/>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55" name="Google Shape;155;p19"/>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56" name="Google Shape;156;p19"/>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57" name="Google Shape;157;p19"/>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58" name="Google Shape;158;p19"/>
          <p:cNvSpPr txBox="1">
            <a:spLocks noGrp="1"/>
          </p:cNvSpPr>
          <p:nvPr>
            <p:ph type="body" idx="1"/>
          </p:nvPr>
        </p:nvSpPr>
        <p:spPr>
          <a:xfrm>
            <a:off x="3854220" y="1753883"/>
            <a:ext cx="5471999" cy="770965"/>
          </a:xfrm>
          <a:prstGeom prst="rect">
            <a:avLst/>
          </a:prstGeom>
          <a:noFill/>
          <a:ln>
            <a:noFill/>
          </a:ln>
        </p:spPr>
        <p:txBody>
          <a:bodyPr spcFirstLastPara="1" wrap="square" lIns="91425" tIns="45700" rIns="91425" bIns="45700" anchor="t" anchorCtr="0">
            <a:noAutofit/>
          </a:bodyPr>
          <a:lstStyle>
            <a:lvl1pPr marL="457200" marR="0" lvl="0" indent="-228600" algn="ctr">
              <a:lnSpc>
                <a:spcPct val="90000"/>
              </a:lnSpc>
              <a:spcBef>
                <a:spcPts val="1000"/>
              </a:spcBef>
              <a:spcAft>
                <a:spcPts val="0"/>
              </a:spcAft>
              <a:buClr>
                <a:srgbClr val="193278"/>
              </a:buClr>
              <a:buSzPts val="3600"/>
              <a:buFont typeface="Arial"/>
              <a:buNone/>
              <a:defRPr sz="3600" b="1" i="0" u="none">
                <a:solidFill>
                  <a:srgbClr val="193278"/>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9"/>
          <p:cNvSpPr txBox="1">
            <a:spLocks noGrp="1"/>
          </p:cNvSpPr>
          <p:nvPr>
            <p:ph type="body" idx="2"/>
          </p:nvPr>
        </p:nvSpPr>
        <p:spPr>
          <a:xfrm>
            <a:off x="3959244" y="4060198"/>
            <a:ext cx="5471999" cy="1958466"/>
          </a:xfrm>
          <a:prstGeom prst="rect">
            <a:avLst/>
          </a:prstGeom>
          <a:noFill/>
          <a:ln>
            <a:noFill/>
          </a:ln>
        </p:spPr>
        <p:txBody>
          <a:bodyPr spcFirstLastPara="1" wrap="square" lIns="91425" tIns="45700" rIns="91425" bIns="45700" anchor="t" anchorCtr="0">
            <a:noAutofit/>
          </a:bodyPr>
          <a:lstStyle>
            <a:lvl1pPr marL="457200" marR="0" lvl="0" indent="-228600" algn="r">
              <a:lnSpc>
                <a:spcPct val="90000"/>
              </a:lnSpc>
              <a:spcBef>
                <a:spcPts val="1000"/>
              </a:spcBef>
              <a:spcAft>
                <a:spcPts val="0"/>
              </a:spcAft>
              <a:buClr>
                <a:srgbClr val="555555"/>
              </a:buClr>
              <a:buSzPts val="1800"/>
              <a:buFont typeface="Arial"/>
              <a:buNone/>
              <a:defRPr sz="1800" b="1" i="0" u="none">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abeçalho da Seção" type="secHead">
  <p:cSld name="SECTION_HEADER">
    <p:spTree>
      <p:nvGrpSpPr>
        <p:cNvPr id="1" name="Shape 168"/>
        <p:cNvGrpSpPr/>
        <p:nvPr/>
      </p:nvGrpSpPr>
      <p:grpSpPr>
        <a:xfrm>
          <a:off x="0" y="0"/>
          <a:ext cx="0" cy="0"/>
          <a:chOff x="0" y="0"/>
          <a:chExt cx="0" cy="0"/>
        </a:xfrm>
      </p:grpSpPr>
      <p:sp>
        <p:nvSpPr>
          <p:cNvPr id="169" name="Google Shape;169;p21"/>
          <p:cNvSpPr txBox="1">
            <a:spLocks noGrp="1"/>
          </p:cNvSpPr>
          <p:nvPr>
            <p:ph type="title"/>
          </p:nvPr>
        </p:nvSpPr>
        <p:spPr>
          <a:xfrm>
            <a:off x="661798" y="1709740"/>
            <a:ext cx="8365927" cy="285273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 name="Google Shape;170;p21"/>
          <p:cNvSpPr txBox="1">
            <a:spLocks noGrp="1"/>
          </p:cNvSpPr>
          <p:nvPr>
            <p:ph type="body" idx="1"/>
          </p:nvPr>
        </p:nvSpPr>
        <p:spPr>
          <a:xfrm>
            <a:off x="661798" y="4589465"/>
            <a:ext cx="8365927" cy="150018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2400"/>
              <a:buNone/>
              <a:defRPr sz="2400">
                <a:solidFill>
                  <a:schemeClr val="dk1"/>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71" name="Google Shape;171;p21"/>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2" name="Google Shape;172;p21"/>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3" name="Google Shape;173;p21"/>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uas Partes de Conteúdo" type="twoObj">
  <p:cSld name="TWO_OBJECTS">
    <p:spTree>
      <p:nvGrpSpPr>
        <p:cNvPr id="1" name="Shape 174"/>
        <p:cNvGrpSpPr/>
        <p:nvPr/>
      </p:nvGrpSpPr>
      <p:grpSpPr>
        <a:xfrm>
          <a:off x="0" y="0"/>
          <a:ext cx="0" cy="0"/>
          <a:chOff x="0" y="0"/>
          <a:chExt cx="0" cy="0"/>
        </a:xfrm>
      </p:grpSpPr>
      <p:sp>
        <p:nvSpPr>
          <p:cNvPr id="175" name="Google Shape;175;p22"/>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22"/>
          <p:cNvSpPr txBox="1">
            <a:spLocks noGrp="1"/>
          </p:cNvSpPr>
          <p:nvPr>
            <p:ph type="body" idx="1"/>
          </p:nvPr>
        </p:nvSpPr>
        <p:spPr>
          <a:xfrm>
            <a:off x="666849"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 name="Google Shape;177;p22"/>
          <p:cNvSpPr txBox="1">
            <a:spLocks noGrp="1"/>
          </p:cNvSpPr>
          <p:nvPr>
            <p:ph type="body" idx="2"/>
          </p:nvPr>
        </p:nvSpPr>
        <p:spPr>
          <a:xfrm>
            <a:off x="4910435"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22"/>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 name="Google Shape;179;p22"/>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0" name="Google Shape;180;p22"/>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ação" type="twoTxTwoObj">
  <p:cSld name="TWO_OBJECTS_WITH_TEXT">
    <p:spTree>
      <p:nvGrpSpPr>
        <p:cNvPr id="1" name="Shape 181"/>
        <p:cNvGrpSpPr/>
        <p:nvPr/>
      </p:nvGrpSpPr>
      <p:grpSpPr>
        <a:xfrm>
          <a:off x="0" y="0"/>
          <a:ext cx="0" cy="0"/>
          <a:chOff x="0" y="0"/>
          <a:chExt cx="0" cy="0"/>
        </a:xfrm>
      </p:grpSpPr>
      <p:sp>
        <p:nvSpPr>
          <p:cNvPr id="182" name="Google Shape;182;p23"/>
          <p:cNvSpPr txBox="1">
            <a:spLocks noGrp="1"/>
          </p:cNvSpPr>
          <p:nvPr>
            <p:ph type="title"/>
          </p:nvPr>
        </p:nvSpPr>
        <p:spPr>
          <a:xfrm>
            <a:off x="668112"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 name="Google Shape;183;p23"/>
          <p:cNvSpPr txBox="1">
            <a:spLocks noGrp="1"/>
          </p:cNvSpPr>
          <p:nvPr>
            <p:ph type="body" idx="1"/>
          </p:nvPr>
        </p:nvSpPr>
        <p:spPr>
          <a:xfrm>
            <a:off x="668114" y="1681163"/>
            <a:ext cx="4103395"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4" name="Google Shape;184;p23"/>
          <p:cNvSpPr txBox="1">
            <a:spLocks noGrp="1"/>
          </p:cNvSpPr>
          <p:nvPr>
            <p:ph type="body" idx="2"/>
          </p:nvPr>
        </p:nvSpPr>
        <p:spPr>
          <a:xfrm>
            <a:off x="668114" y="2505075"/>
            <a:ext cx="4103395"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23"/>
          <p:cNvSpPr txBox="1">
            <a:spLocks noGrp="1"/>
          </p:cNvSpPr>
          <p:nvPr>
            <p:ph type="body" idx="3"/>
          </p:nvPr>
        </p:nvSpPr>
        <p:spPr>
          <a:xfrm>
            <a:off x="4910436" y="1681163"/>
            <a:ext cx="4123604"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6" name="Google Shape;186;p23"/>
          <p:cNvSpPr txBox="1">
            <a:spLocks noGrp="1"/>
          </p:cNvSpPr>
          <p:nvPr>
            <p:ph type="body" idx="4"/>
          </p:nvPr>
        </p:nvSpPr>
        <p:spPr>
          <a:xfrm>
            <a:off x="4910436" y="2505075"/>
            <a:ext cx="4123604"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23"/>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8" name="Google Shape;188;p23"/>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9" name="Google Shape;189;p23"/>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omente título" type="titleOnly">
  <p:cSld name="TITLE_ONLY">
    <p:spTree>
      <p:nvGrpSpPr>
        <p:cNvPr id="1" name="Shape 190"/>
        <p:cNvGrpSpPr/>
        <p:nvPr/>
      </p:nvGrpSpPr>
      <p:grpSpPr>
        <a:xfrm>
          <a:off x="0" y="0"/>
          <a:ext cx="0" cy="0"/>
          <a:chOff x="0" y="0"/>
          <a:chExt cx="0" cy="0"/>
        </a:xfrm>
      </p:grpSpPr>
      <p:sp>
        <p:nvSpPr>
          <p:cNvPr id="191" name="Google Shape;191;p24"/>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 name="Google Shape;192;p24"/>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 name="Google Shape;193;p24"/>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4" name="Google Shape;194;p24"/>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Em branco" type="blank">
  <p:cSld name="BLANK">
    <p:spTree>
      <p:nvGrpSpPr>
        <p:cNvPr id="1" name="Shape 195"/>
        <p:cNvGrpSpPr/>
        <p:nvPr/>
      </p:nvGrpSpPr>
      <p:grpSpPr>
        <a:xfrm>
          <a:off x="0" y="0"/>
          <a:ext cx="0" cy="0"/>
          <a:chOff x="0" y="0"/>
          <a:chExt cx="0" cy="0"/>
        </a:xfrm>
      </p:grpSpPr>
      <p:sp>
        <p:nvSpPr>
          <p:cNvPr id="196" name="Google Shape;196;p25"/>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7" name="Google Shape;197;p25"/>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8" name="Google Shape;198;p25"/>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údo com Legenda" type="objTx">
  <p:cSld name="OBJECT_WITH_CAPTION_TEXT">
    <p:spTree>
      <p:nvGrpSpPr>
        <p:cNvPr id="1" name="Shape 199"/>
        <p:cNvGrpSpPr/>
        <p:nvPr/>
      </p:nvGrpSpPr>
      <p:grpSpPr>
        <a:xfrm>
          <a:off x="0" y="0"/>
          <a:ext cx="0" cy="0"/>
          <a:chOff x="0" y="0"/>
          <a:chExt cx="0" cy="0"/>
        </a:xfrm>
      </p:grpSpPr>
      <p:sp>
        <p:nvSpPr>
          <p:cNvPr id="200" name="Google Shape;200;p26"/>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26"/>
          <p:cNvSpPr txBox="1">
            <a:spLocks noGrp="1"/>
          </p:cNvSpPr>
          <p:nvPr>
            <p:ph type="body" idx="1"/>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02" name="Google Shape;202;p26"/>
          <p:cNvSpPr txBox="1">
            <a:spLocks noGrp="1"/>
          </p:cNvSpPr>
          <p:nvPr>
            <p:ph type="body" idx="2"/>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03" name="Google Shape;203;p26"/>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4" name="Google Shape;204;p26"/>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5" name="Google Shape;205;p26"/>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66849" y="1825625"/>
            <a:ext cx="8365927"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p:nvPr/>
        </p:nvSpPr>
        <p:spPr>
          <a:xfrm>
            <a:off x="7785637" y="6370016"/>
            <a:ext cx="1654175" cy="36671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fld id="{00000000-1234-1234-1234-123412341234}" type="slidenum">
              <a:rPr lang="pt-BR" sz="1800" b="0" i="0" u="none" strike="noStrike" cap="none">
                <a:solidFill>
                  <a:srgbClr val="555555"/>
                </a:solidFill>
                <a:latin typeface="Calibri"/>
                <a:ea typeface="Calibri"/>
                <a:cs typeface="Calibri"/>
                <a:sym typeface="Calibri"/>
              </a:rPr>
              <a:t>‹nº›</a:t>
            </a:fld>
            <a:endParaRPr sz="1800" b="0" i="0" u="none" strike="noStrike" cap="none">
              <a:solidFill>
                <a:srgbClr val="555555"/>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65"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9.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7.xml"/><Relationship Id="rId7" Type="http://schemas.openxmlformats.org/officeDocument/2006/relationships/image" Target="../media/image1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10.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28.svg"/><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0.sv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slideLayout" Target="../slideLayouts/slideLayout2.xml"/><Relationship Id="rId3" Type="http://schemas.openxmlformats.org/officeDocument/2006/relationships/tags" Target="../tags/tag30.xml"/><Relationship Id="rId21" Type="http://schemas.openxmlformats.org/officeDocument/2006/relationships/slide" Target="slide30.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slide" Target="slide37.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slide" Target="slide3.xml"/><Relationship Id="rId10" Type="http://schemas.openxmlformats.org/officeDocument/2006/relationships/tags" Target="../tags/tag37.xml"/><Relationship Id="rId19" Type="http://schemas.openxmlformats.org/officeDocument/2006/relationships/slide" Target="slide38.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slide" Target="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7.jpeg"/><Relationship Id="rId4" Type="http://schemas.openxmlformats.org/officeDocument/2006/relationships/image" Target="../media/image31.png"/><Relationship Id="rId9" Type="http://schemas.openxmlformats.org/officeDocument/2006/relationships/image" Target="../media/image38.pn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7.jpeg"/><Relationship Id="rId4" Type="http://schemas.openxmlformats.org/officeDocument/2006/relationships/image" Target="../media/image31.png"/><Relationship Id="rId9"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3.png"/><Relationship Id="rId7" Type="http://schemas.openxmlformats.org/officeDocument/2006/relationships/image" Target="../media/image7.jpe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4.png"/><Relationship Id="rId5" Type="http://schemas.openxmlformats.org/officeDocument/2006/relationships/image" Target="../media/image39.png"/><Relationship Id="rId10" Type="http://schemas.openxmlformats.org/officeDocument/2006/relationships/image" Target="../media/image43.png"/><Relationship Id="rId4" Type="http://schemas.openxmlformats.org/officeDocument/2006/relationships/image" Target="../media/image31.png"/><Relationship Id="rId9" Type="http://schemas.openxmlformats.org/officeDocument/2006/relationships/image" Target="../media/image42.png"/></Relationships>
</file>

<file path=ppt/slides/_rels/slide2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3.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42.png"/><Relationship Id="rId11" Type="http://schemas.openxmlformats.org/officeDocument/2006/relationships/image" Target="../media/image47.jpe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2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3.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2.png"/><Relationship Id="rId11" Type="http://schemas.openxmlformats.org/officeDocument/2006/relationships/image" Target="../media/image47.jpe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2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33.png"/><Relationship Id="rId7" Type="http://schemas.openxmlformats.org/officeDocument/2006/relationships/image" Target="../media/image54.sv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18.png"/><Relationship Id="rId10" Type="http://schemas.openxmlformats.org/officeDocument/2006/relationships/image" Target="../media/image57.png"/><Relationship Id="rId4" Type="http://schemas.openxmlformats.org/officeDocument/2006/relationships/image" Target="../media/image52.png"/><Relationship Id="rId9" Type="http://schemas.openxmlformats.org/officeDocument/2006/relationships/image" Target="../media/image56.svg"/></Relationships>
</file>

<file path=ppt/slides/_rels/slide2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3.png"/><Relationship Id="rId7" Type="http://schemas.openxmlformats.org/officeDocument/2006/relationships/image" Target="../media/image61.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37.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2.xml"/><Relationship Id="rId3" Type="http://schemas.openxmlformats.org/officeDocument/2006/relationships/tags" Target="../tags/tag4.xml"/><Relationship Id="rId21" Type="http://schemas.openxmlformats.org/officeDocument/2006/relationships/slide" Target="slide30.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 Target="slide3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 Target="slide3.xml"/><Relationship Id="rId10" Type="http://schemas.openxmlformats.org/officeDocument/2006/relationships/tags" Target="../tags/tag11.xml"/><Relationship Id="rId19" Type="http://schemas.openxmlformats.org/officeDocument/2006/relationships/slide" Target="slide38.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 Target="slide20.xml"/></Relationships>
</file>

<file path=ppt/slides/_rels/slide30.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slideLayout" Target="../slideLayouts/slideLayout2.xml"/><Relationship Id="rId3" Type="http://schemas.openxmlformats.org/officeDocument/2006/relationships/tags" Target="../tags/tag47.xml"/><Relationship Id="rId21" Type="http://schemas.openxmlformats.org/officeDocument/2006/relationships/slide" Target="slide30.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slide" Target="slide37.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slide" Target="slide3.xml"/><Relationship Id="rId10" Type="http://schemas.openxmlformats.org/officeDocument/2006/relationships/tags" Target="../tags/tag54.xml"/><Relationship Id="rId19" Type="http://schemas.openxmlformats.org/officeDocument/2006/relationships/slide" Target="slide38.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slide" Target="slide20.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4.png"/><Relationship Id="rId4" Type="http://schemas.openxmlformats.org/officeDocument/2006/relationships/image" Target="../media/image63.png"/></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39.png"/><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8.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slideLayout" Target="../slideLayouts/slideLayout2.xml"/><Relationship Id="rId3" Type="http://schemas.openxmlformats.org/officeDocument/2006/relationships/tags" Target="../tags/tag64.xml"/><Relationship Id="rId21" Type="http://schemas.openxmlformats.org/officeDocument/2006/relationships/slide" Target="slide30.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slide" Target="slide37.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slide" Target="slide3.xml"/><Relationship Id="rId10" Type="http://schemas.openxmlformats.org/officeDocument/2006/relationships/tags" Target="../tags/tag71.xml"/><Relationship Id="rId19" Type="http://schemas.openxmlformats.org/officeDocument/2006/relationships/slide" Target="slide38.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slide" Target="slide20.xml"/></Relationships>
</file>

<file path=ppt/slides/_rels/slide38.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slideLayout" Target="../slideLayouts/slideLayout2.xml"/><Relationship Id="rId3" Type="http://schemas.openxmlformats.org/officeDocument/2006/relationships/tags" Target="../tags/tag81.xml"/><Relationship Id="rId21" Type="http://schemas.openxmlformats.org/officeDocument/2006/relationships/slide" Target="slide30.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slide" Target="slide37.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slide" Target="slide3.xml"/><Relationship Id="rId10" Type="http://schemas.openxmlformats.org/officeDocument/2006/relationships/tags" Target="../tags/tag88.xml"/><Relationship Id="rId19" Type="http://schemas.openxmlformats.org/officeDocument/2006/relationships/slide" Target="slide3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slide" Target="slide2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44.png"/><Relationship Id="rId7" Type="http://schemas.openxmlformats.org/officeDocument/2006/relationships/image" Target="../media/image69.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72.svg"/><Relationship Id="rId4" Type="http://schemas.openxmlformats.org/officeDocument/2006/relationships/image" Target="../media/image43.png"/><Relationship Id="rId9" Type="http://schemas.openxmlformats.org/officeDocument/2006/relationships/image" Target="../media/image71.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7.jpeg"/><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7.jpe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xml"/><Relationship Id="rId7" Type="http://schemas.openxmlformats.org/officeDocument/2006/relationships/image" Target="../media/image16.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8.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30"/>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p>
            <a:pPr marL="228600">
              <a:spcBef>
                <a:spcPts val="0"/>
              </a:spcBef>
            </a:pPr>
            <a:r>
              <a:rPr lang="en-GB" b="0" i="1" dirty="0">
                <a:solidFill>
                  <a:srgbClr val="193278"/>
                </a:solidFill>
              </a:rPr>
              <a:t>Candidate for the degree of Master of Science:</a:t>
            </a:r>
          </a:p>
          <a:p>
            <a:pPr marL="228600"/>
            <a:r>
              <a:rPr lang="en-GB" dirty="0">
                <a:solidFill>
                  <a:srgbClr val="193278"/>
                </a:solidFill>
              </a:rPr>
              <a:t>Eng. Ivan de Souza Rehder</a:t>
            </a:r>
          </a:p>
        </p:txBody>
      </p:sp>
      <p:sp>
        <p:nvSpPr>
          <p:cNvPr id="230" name="Google Shape;230;p30"/>
          <p:cNvSpPr txBox="1">
            <a:spLocks noGrp="1"/>
          </p:cNvSpPr>
          <p:nvPr>
            <p:ph type="body" idx="2"/>
          </p:nvPr>
        </p:nvSpPr>
        <p:spPr>
          <a:xfrm>
            <a:off x="3906629" y="1512178"/>
            <a:ext cx="5472000" cy="1639941"/>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3600"/>
              <a:buNone/>
            </a:pPr>
            <a:r>
              <a:rPr lang="en-US" dirty="0"/>
              <a:t>Virtual reality for the human-</a:t>
            </a:r>
            <a:r>
              <a:rPr lang="en-US" dirty="0" err="1"/>
              <a:t>centred</a:t>
            </a:r>
            <a:r>
              <a:rPr lang="en-US" dirty="0"/>
              <a:t> design of assistive devices</a:t>
            </a:r>
          </a:p>
        </p:txBody>
      </p:sp>
      <p:sp>
        <p:nvSpPr>
          <p:cNvPr id="231" name="Google Shape;231;p30"/>
          <p:cNvSpPr txBox="1">
            <a:spLocks noGrp="1"/>
          </p:cNvSpPr>
          <p:nvPr>
            <p:ph type="body" idx="3"/>
          </p:nvPr>
        </p:nvSpPr>
        <p:spPr>
          <a:xfrm>
            <a:off x="3869458" y="3417783"/>
            <a:ext cx="5534737" cy="22321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555555"/>
              </a:buClr>
              <a:buSzPts val="1800"/>
              <a:buNone/>
            </a:pPr>
            <a:r>
              <a:rPr lang="en-US" sz="1600" b="0" i="1" dirty="0">
                <a:solidFill>
                  <a:srgbClr val="193278"/>
                </a:solidFill>
              </a:rPr>
              <a:t>Thesis Committee Composition:</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Chairperson:</a:t>
            </a:r>
            <a:r>
              <a:rPr lang="en-US" sz="1600" b="0" dirty="0">
                <a:solidFill>
                  <a:srgbClr val="193278"/>
                </a:solidFill>
              </a:rPr>
              <a:t> </a:t>
            </a:r>
            <a:r>
              <a:rPr lang="en-US" sz="1600" dirty="0">
                <a:solidFill>
                  <a:srgbClr val="193278"/>
                </a:solidFill>
              </a:rPr>
              <a:t>Prof. Dr. Luís Gonzaga </a:t>
            </a:r>
            <a:r>
              <a:rPr lang="en-US" sz="1600" dirty="0" err="1">
                <a:solidFill>
                  <a:srgbClr val="193278"/>
                </a:solidFill>
              </a:rPr>
              <a:t>Trabasso</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Advisor: </a:t>
            </a:r>
            <a:r>
              <a:rPr lang="en-US" sz="1600" dirty="0">
                <a:solidFill>
                  <a:srgbClr val="193278"/>
                </a:solidFill>
              </a:rPr>
              <a:t>Profª. Drª. Emilia Villani (ITA)</a:t>
            </a:r>
          </a:p>
          <a:p>
            <a:pPr marL="0" indent="0" algn="l">
              <a:buSzPts val="1600"/>
            </a:pPr>
            <a:r>
              <a:rPr lang="en-US" sz="1600" b="0" i="1" dirty="0" err="1">
                <a:solidFill>
                  <a:srgbClr val="193278"/>
                </a:solidFill>
              </a:rPr>
              <a:t>Coadvisor</a:t>
            </a:r>
            <a:r>
              <a:rPr lang="en-US" sz="1600" b="0" i="1" dirty="0">
                <a:solidFill>
                  <a:srgbClr val="193278"/>
                </a:solidFill>
              </a:rPr>
              <a:t>:</a:t>
            </a:r>
            <a:r>
              <a:rPr lang="en-US" sz="1600" b="0" dirty="0">
                <a:solidFill>
                  <a:srgbClr val="193278"/>
                </a:solidFill>
              </a:rPr>
              <a:t> </a:t>
            </a:r>
            <a:r>
              <a:rPr lang="en-US" sz="1600" dirty="0">
                <a:solidFill>
                  <a:srgbClr val="193278"/>
                </a:solidFill>
              </a:rPr>
              <a:t>Prof. Dr. </a:t>
            </a:r>
            <a:r>
              <a:rPr lang="en-US" sz="1600" dirty="0" err="1">
                <a:solidFill>
                  <a:srgbClr val="193278"/>
                </a:solidFill>
              </a:rPr>
              <a:t>Edmar</a:t>
            </a:r>
            <a:r>
              <a:rPr lang="en-US" sz="1600" dirty="0">
                <a:solidFill>
                  <a:srgbClr val="193278"/>
                </a:solidFill>
              </a:rPr>
              <a:t> </a:t>
            </a:r>
            <a:r>
              <a:rPr lang="en-US" sz="1600" dirty="0" err="1">
                <a:solidFill>
                  <a:srgbClr val="193278"/>
                </a:solidFill>
              </a:rPr>
              <a:t>Thomaz</a:t>
            </a:r>
            <a:r>
              <a:rPr lang="en-US" sz="1600" dirty="0">
                <a:solidFill>
                  <a:srgbClr val="193278"/>
                </a:solidFill>
              </a:rPr>
              <a:t> da Silva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Internal member:</a:t>
            </a:r>
            <a:r>
              <a:rPr lang="en-US" sz="1600" b="0" dirty="0">
                <a:solidFill>
                  <a:srgbClr val="193278"/>
                </a:solidFill>
              </a:rPr>
              <a:t> </a:t>
            </a:r>
            <a:r>
              <a:rPr lang="en-US" sz="1600" dirty="0">
                <a:solidFill>
                  <a:srgbClr val="193278"/>
                </a:solidFill>
              </a:rPr>
              <a:t>Prof. Dr. Christopher S. </a:t>
            </a:r>
            <a:r>
              <a:rPr lang="en-US" sz="1600" dirty="0" err="1">
                <a:solidFill>
                  <a:srgbClr val="193278"/>
                </a:solidFill>
              </a:rPr>
              <a:t>Cerqueira</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External member:</a:t>
            </a:r>
            <a:r>
              <a:rPr lang="en-US" sz="1600" b="0" dirty="0">
                <a:solidFill>
                  <a:srgbClr val="193278"/>
                </a:solidFill>
              </a:rPr>
              <a:t> </a:t>
            </a:r>
            <a:r>
              <a:rPr lang="en-US" sz="1600" dirty="0">
                <a:solidFill>
                  <a:srgbClr val="193278"/>
                </a:solidFill>
              </a:rPr>
              <a:t>Prof. Dr. </a:t>
            </a:r>
            <a:r>
              <a:rPr lang="en-US" sz="1600" dirty="0" err="1">
                <a:solidFill>
                  <a:srgbClr val="193278"/>
                </a:solidFill>
              </a:rPr>
              <a:t>Petter</a:t>
            </a:r>
            <a:r>
              <a:rPr lang="en-US" sz="1600" dirty="0">
                <a:solidFill>
                  <a:srgbClr val="193278"/>
                </a:solidFill>
              </a:rPr>
              <a:t> Krus(INPE)</a:t>
            </a:r>
          </a:p>
        </p:txBody>
      </p:sp>
      <p:sp>
        <p:nvSpPr>
          <p:cNvPr id="232" name="Google Shape;232;p30"/>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p>
            <a:pPr marL="0" lvl="0" indent="0" algn="r" rtl="0">
              <a:lnSpc>
                <a:spcPct val="90000"/>
              </a:lnSpc>
              <a:spcBef>
                <a:spcPts val="0"/>
              </a:spcBef>
              <a:spcAft>
                <a:spcPts val="0"/>
              </a:spcAft>
              <a:buClr>
                <a:srgbClr val="555555"/>
              </a:buClr>
              <a:buSzPts val="1600"/>
              <a:buNone/>
            </a:pPr>
            <a:r>
              <a:rPr lang="pt-BR" dirty="0">
                <a:solidFill>
                  <a:srgbClr val="193278"/>
                </a:solidFill>
              </a:rPr>
              <a:t>August 4th, 2022</a:t>
            </a:r>
            <a:endParaRPr dirty="0">
              <a:solidFill>
                <a:srgbClr val="193278"/>
              </a:solidFill>
            </a:endParaRPr>
          </a:p>
        </p:txBody>
      </p:sp>
    </p:spTree>
    <p:extLst>
      <p:ext uri="{BB962C8B-B14F-4D97-AF65-F5344CB8AC3E}">
        <p14:creationId xmlns:p14="http://schemas.microsoft.com/office/powerpoint/2010/main" val="1982929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27143"/>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28" name="Retângulo 27">
            <a:extLst>
              <a:ext uri="{FF2B5EF4-FFF2-40B4-BE49-F238E27FC236}">
                <a16:creationId xmlns:a16="http://schemas.microsoft.com/office/drawing/2014/main" id="{290365EE-6A43-04A6-0F1F-2BED47418CF2}"/>
              </a:ext>
            </a:extLst>
          </p:cNvPr>
          <p:cNvSpPr/>
          <p:nvPr/>
        </p:nvSpPr>
        <p:spPr>
          <a:xfrm>
            <a:off x="334949" y="3387382"/>
            <a:ext cx="3791238" cy="26312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sp>
        <p:nvSpPr>
          <p:cNvPr id="43" name="Retângulo 42">
            <a:extLst>
              <a:ext uri="{FF2B5EF4-FFF2-40B4-BE49-F238E27FC236}">
                <a16:creationId xmlns:a16="http://schemas.microsoft.com/office/drawing/2014/main" id="{AECEBFE8-6058-4FC2-F910-D9501F6B7976}"/>
              </a:ext>
            </a:extLst>
          </p:cNvPr>
          <p:cNvSpPr/>
          <p:nvPr/>
        </p:nvSpPr>
        <p:spPr>
          <a:xfrm>
            <a:off x="209550" y="682419"/>
            <a:ext cx="3930111" cy="2724552"/>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2" name="Imagem 31">
            <a:extLst>
              <a:ext uri="{FF2B5EF4-FFF2-40B4-BE49-F238E27FC236}">
                <a16:creationId xmlns:a16="http://schemas.microsoft.com/office/drawing/2014/main" id="{951DD103-71F0-25DD-645A-FA36BAF84498}"/>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067708" y="954845"/>
            <a:ext cx="5283494" cy="4948310"/>
          </a:xfrm>
          <a:prstGeom prst="rect">
            <a:avLst/>
          </a:prstGeom>
        </p:spPr>
      </p:pic>
      <p:sp>
        <p:nvSpPr>
          <p:cNvPr id="31" name="Retângulo 30">
            <a:extLst>
              <a:ext uri="{FF2B5EF4-FFF2-40B4-BE49-F238E27FC236}">
                <a16:creationId xmlns:a16="http://schemas.microsoft.com/office/drawing/2014/main" id="{5BD31A1D-5F01-7A54-1BD8-F8F78CF5FAC4}"/>
              </a:ext>
            </a:extLst>
          </p:cNvPr>
          <p:cNvSpPr/>
          <p:nvPr/>
        </p:nvSpPr>
        <p:spPr>
          <a:xfrm>
            <a:off x="4126187" y="760449"/>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233843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27143"/>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sp>
        <p:nvSpPr>
          <p:cNvPr id="21" name="Retângulo 20">
            <a:extLst>
              <a:ext uri="{FF2B5EF4-FFF2-40B4-BE49-F238E27FC236}">
                <a16:creationId xmlns:a16="http://schemas.microsoft.com/office/drawing/2014/main" id="{7152DCCC-F077-F3DB-6A55-F2BDF13AE047}"/>
              </a:ext>
            </a:extLst>
          </p:cNvPr>
          <p:cNvSpPr/>
          <p:nvPr/>
        </p:nvSpPr>
        <p:spPr>
          <a:xfrm>
            <a:off x="4126187" y="792000"/>
            <a:ext cx="5251961"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3" name="Retângulo 42">
            <a:extLst>
              <a:ext uri="{FF2B5EF4-FFF2-40B4-BE49-F238E27FC236}">
                <a16:creationId xmlns:a16="http://schemas.microsoft.com/office/drawing/2014/main" id="{AECEBFE8-6058-4FC2-F910-D9501F6B7976}"/>
              </a:ext>
            </a:extLst>
          </p:cNvPr>
          <p:cNvSpPr/>
          <p:nvPr/>
        </p:nvSpPr>
        <p:spPr>
          <a:xfrm>
            <a:off x="348423" y="769494"/>
            <a:ext cx="3777764" cy="2636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5" name="Retângulo 44">
            <a:extLst>
              <a:ext uri="{FF2B5EF4-FFF2-40B4-BE49-F238E27FC236}">
                <a16:creationId xmlns:a16="http://schemas.microsoft.com/office/drawing/2014/main" id="{DB3C753A-A820-DACD-1421-DF64DA4C9AB9}"/>
              </a:ext>
            </a:extLst>
          </p:cNvPr>
          <p:cNvSpPr/>
          <p:nvPr/>
        </p:nvSpPr>
        <p:spPr>
          <a:xfrm>
            <a:off x="348423" y="3406493"/>
            <a:ext cx="3777764"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44C019E4-145A-5866-B067-5A851DD1E800}"/>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067708" y="954845"/>
            <a:ext cx="5283494" cy="4948310"/>
          </a:xfrm>
          <a:prstGeom prst="rect">
            <a:avLst/>
          </a:prstGeom>
        </p:spPr>
      </p:pic>
    </p:spTree>
    <p:extLst>
      <p:ext uri="{BB962C8B-B14F-4D97-AF65-F5344CB8AC3E}">
        <p14:creationId xmlns:p14="http://schemas.microsoft.com/office/powerpoint/2010/main" val="31207600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26664"/>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8" y="792000"/>
            <a:ext cx="4455043"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Mental Workload</a:t>
            </a:r>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5" name="Imagem 4">
            <a:extLst>
              <a:ext uri="{FF2B5EF4-FFF2-40B4-BE49-F238E27FC236}">
                <a16:creationId xmlns:a16="http://schemas.microsoft.com/office/drawing/2014/main" id="{91348225-184A-07F8-34CE-DDF2FEB2707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51714" y="1377565"/>
            <a:ext cx="4538280" cy="4407670"/>
          </a:xfrm>
          <a:prstGeom prst="rect">
            <a:avLst/>
          </a:prstGeom>
        </p:spPr>
      </p:pic>
      <p:pic>
        <p:nvPicPr>
          <p:cNvPr id="14" name="Imagem 13">
            <a:extLst>
              <a:ext uri="{FF2B5EF4-FFF2-40B4-BE49-F238E27FC236}">
                <a16:creationId xmlns:a16="http://schemas.microsoft.com/office/drawing/2014/main" id="{61588F95-65EB-6EDB-10B2-1048FF9FDE3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421" r="8421" b="15013"/>
          <a:stretch/>
        </p:blipFill>
        <p:spPr>
          <a:xfrm>
            <a:off x="6294775" y="1230191"/>
            <a:ext cx="1635732" cy="1671720"/>
          </a:xfrm>
          <a:prstGeom prst="rect">
            <a:avLst/>
          </a:prstGeom>
        </p:spPr>
      </p:pic>
      <p:pic>
        <p:nvPicPr>
          <p:cNvPr id="16" name="Imagem 15">
            <a:extLst>
              <a:ext uri="{FF2B5EF4-FFF2-40B4-BE49-F238E27FC236}">
                <a16:creationId xmlns:a16="http://schemas.microsoft.com/office/drawing/2014/main" id="{58FE2C97-BDEE-EEAF-8F4B-FBE62A6E474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089573" y="2991247"/>
            <a:ext cx="3693420" cy="3027417"/>
          </a:xfrm>
          <a:prstGeom prst="rect">
            <a:avLst/>
          </a:prstGeom>
        </p:spPr>
      </p:pic>
      <p:sp>
        <p:nvSpPr>
          <p:cNvPr id="17" name="Retângulo 16">
            <a:extLst>
              <a:ext uri="{FF2B5EF4-FFF2-40B4-BE49-F238E27FC236}">
                <a16:creationId xmlns:a16="http://schemas.microsoft.com/office/drawing/2014/main" id="{996D0E5D-C6F2-D74B-347C-A7869662AD02}"/>
              </a:ext>
            </a:extLst>
          </p:cNvPr>
          <p:cNvSpPr/>
          <p:nvPr/>
        </p:nvSpPr>
        <p:spPr>
          <a:xfrm>
            <a:off x="4992867" y="792001"/>
            <a:ext cx="4398754"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6832999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26664"/>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27144"/>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a:t>Mental Workload</a:t>
            </a:r>
            <a:endParaRPr lang="en-US" dirty="0"/>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421" r="8421" b="15013"/>
          <a:stretch/>
        </p:blipFill>
        <p:spPr>
          <a:xfrm>
            <a:off x="6294775" y="1230191"/>
            <a:ext cx="1635732" cy="1671720"/>
          </a:xfrm>
          <a:prstGeom prst="rect">
            <a:avLst/>
          </a:prstGeom>
        </p:spPr>
      </p:pic>
      <p:pic>
        <p:nvPicPr>
          <p:cNvPr id="17" name="Imagem 16">
            <a:extLst>
              <a:ext uri="{FF2B5EF4-FFF2-40B4-BE49-F238E27FC236}">
                <a16:creationId xmlns:a16="http://schemas.microsoft.com/office/drawing/2014/main" id="{FB0A0216-CC70-47AE-F370-11DA0A0B1F8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51714" y="1377565"/>
            <a:ext cx="4538280" cy="4407670"/>
          </a:xfrm>
          <a:prstGeom prst="rect">
            <a:avLst/>
          </a:prstGeom>
        </p:spPr>
      </p:pic>
      <p:sp>
        <p:nvSpPr>
          <p:cNvPr id="14" name="Retângulo 13">
            <a:extLst>
              <a:ext uri="{FF2B5EF4-FFF2-40B4-BE49-F238E27FC236}">
                <a16:creationId xmlns:a16="http://schemas.microsoft.com/office/drawing/2014/main" id="{F09D7953-8768-EA31-10FE-B00596F697B5}"/>
              </a:ext>
            </a:extLst>
          </p:cNvPr>
          <p:cNvSpPr/>
          <p:nvPr/>
        </p:nvSpPr>
        <p:spPr>
          <a:xfrm>
            <a:off x="334949" y="792000"/>
            <a:ext cx="437181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23" name="Imagem 22">
            <a:extLst>
              <a:ext uri="{FF2B5EF4-FFF2-40B4-BE49-F238E27FC236}">
                <a16:creationId xmlns:a16="http://schemas.microsoft.com/office/drawing/2014/main" id="{A6700BC9-349A-7E5C-17A1-19D976641AA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089573" y="2991247"/>
            <a:ext cx="3693420" cy="3027417"/>
          </a:xfrm>
          <a:prstGeom prst="rect">
            <a:avLst/>
          </a:prstGeom>
        </p:spPr>
      </p:pic>
    </p:spTree>
    <p:extLst>
      <p:ext uri="{BB962C8B-B14F-4D97-AF65-F5344CB8AC3E}">
        <p14:creationId xmlns:p14="http://schemas.microsoft.com/office/powerpoint/2010/main" val="25647462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18" name="Agrupar 17">
            <a:extLst>
              <a:ext uri="{FF2B5EF4-FFF2-40B4-BE49-F238E27FC236}">
                <a16:creationId xmlns:a16="http://schemas.microsoft.com/office/drawing/2014/main" id="{163CA4C4-E7EE-F072-B85F-D241964B993F}"/>
              </a:ext>
            </a:extLst>
          </p:cNvPr>
          <p:cNvGrpSpPr/>
          <p:nvPr/>
        </p:nvGrpSpPr>
        <p:grpSpPr>
          <a:xfrm>
            <a:off x="348421" y="791521"/>
            <a:ext cx="9029728" cy="5274478"/>
            <a:chOff x="348421" y="791521"/>
            <a:chExt cx="9029728" cy="5274478"/>
          </a:xfrm>
        </p:grpSpPr>
        <p:sp>
          <p:nvSpPr>
            <p:cNvPr id="19" name="Retângulo 18">
              <a:extLst>
                <a:ext uri="{FF2B5EF4-FFF2-40B4-BE49-F238E27FC236}">
                  <a16:creationId xmlns:a16="http://schemas.microsoft.com/office/drawing/2014/main" id="{50ADA0F3-4617-6E43-76E6-68C36756A3AC}"/>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20" name="Imagem 19">
              <a:extLst>
                <a:ext uri="{FF2B5EF4-FFF2-40B4-BE49-F238E27FC236}">
                  <a16:creationId xmlns:a16="http://schemas.microsoft.com/office/drawing/2014/main" id="{11730045-1CE4-4F26-B14C-5F245C114DD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585661" y="792000"/>
              <a:ext cx="6528302" cy="2811702"/>
            </a:xfrm>
            <a:prstGeom prst="rect">
              <a:avLst/>
            </a:prstGeom>
          </p:spPr>
        </p:pic>
        <p:sp>
          <p:nvSpPr>
            <p:cNvPr id="21" name="Retângulo 20">
              <a:extLst>
                <a:ext uri="{FF2B5EF4-FFF2-40B4-BE49-F238E27FC236}">
                  <a16:creationId xmlns:a16="http://schemas.microsoft.com/office/drawing/2014/main" id="{4FAA4CF5-1B1E-4E13-1BD6-19C65C9BE9FB}"/>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22" name="Imagem 21">
              <a:extLst>
                <a:ext uri="{FF2B5EF4-FFF2-40B4-BE49-F238E27FC236}">
                  <a16:creationId xmlns:a16="http://schemas.microsoft.com/office/drawing/2014/main" id="{34AFFA64-8990-9971-0D30-A7DF9F298B79}"/>
                </a:ext>
              </a:extLst>
            </p:cNvPr>
            <p:cNvPicPr>
              <a:picLocks noChangeAspect="1"/>
            </p:cNvPicPr>
            <p:nvPr/>
          </p:nvPicPr>
          <p:blipFill rotWithShape="1">
            <a:blip r:embed="rId3">
              <a:clrChange>
                <a:clrFrom>
                  <a:srgbClr val="FFFFFF"/>
                </a:clrFrom>
                <a:clrTo>
                  <a:srgbClr val="FFFFFF">
                    <a:alpha val="0"/>
                  </a:srgbClr>
                </a:clrTo>
              </a:clrChange>
            </a:blip>
            <a:srcRect t="42972" r="73283"/>
            <a:stretch/>
          </p:blipFill>
          <p:spPr>
            <a:xfrm>
              <a:off x="1589608" y="2000250"/>
              <a:ext cx="1744142" cy="1603452"/>
            </a:xfrm>
            <a:prstGeom prst="rect">
              <a:avLst/>
            </a:prstGeom>
          </p:spPr>
        </p:pic>
      </p:gr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6" name="Retângulo 15">
            <a:extLst>
              <a:ext uri="{FF2B5EF4-FFF2-40B4-BE49-F238E27FC236}">
                <a16:creationId xmlns:a16="http://schemas.microsoft.com/office/drawing/2014/main" id="{999634A0-DC9E-5847-8857-6F2A73698959}"/>
              </a:ext>
            </a:extLst>
          </p:cNvPr>
          <p:cNvSpPr/>
          <p:nvPr/>
        </p:nvSpPr>
        <p:spPr>
          <a:xfrm>
            <a:off x="334949" y="3676650"/>
            <a:ext cx="9016252" cy="234201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 name="Imagem 2">
            <a:extLst>
              <a:ext uri="{FF2B5EF4-FFF2-40B4-BE49-F238E27FC236}">
                <a16:creationId xmlns:a16="http://schemas.microsoft.com/office/drawing/2014/main" id="{3C55B574-FBF3-43B7-C61C-AFA0F946D612}"/>
              </a:ext>
            </a:extLst>
          </p:cNvPr>
          <p:cNvPicPr>
            <a:picLocks noChangeAspect="1"/>
          </p:cNvPicPr>
          <p:nvPr/>
        </p:nvPicPr>
        <p:blipFill>
          <a:blip r:embed="rId4"/>
          <a:stretch>
            <a:fillRect/>
          </a:stretch>
        </p:blipFill>
        <p:spPr>
          <a:xfrm>
            <a:off x="6120000" y="3880069"/>
            <a:ext cx="1935175" cy="1935175"/>
          </a:xfrm>
          <a:prstGeom prst="rect">
            <a:avLst/>
          </a:prstGeom>
        </p:spPr>
      </p:pic>
      <p:sp>
        <p:nvSpPr>
          <p:cNvPr id="9" name="Google Shape;237;p31">
            <a:extLst>
              <a:ext uri="{FF2B5EF4-FFF2-40B4-BE49-F238E27FC236}">
                <a16:creationId xmlns:a16="http://schemas.microsoft.com/office/drawing/2014/main" id="{AD2609D0-B8AC-EB26-643A-69E5E0D2B83C}"/>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No element produced by a digital system.</a:t>
            </a:r>
          </a:p>
        </p:txBody>
      </p:sp>
    </p:spTree>
    <p:extLst>
      <p:ext uri="{BB962C8B-B14F-4D97-AF65-F5344CB8AC3E}">
        <p14:creationId xmlns:p14="http://schemas.microsoft.com/office/powerpoint/2010/main" val="3281478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10" name="Agrupar 9">
            <a:extLst>
              <a:ext uri="{FF2B5EF4-FFF2-40B4-BE49-F238E27FC236}">
                <a16:creationId xmlns:a16="http://schemas.microsoft.com/office/drawing/2014/main" id="{08D7F352-4A4E-78F6-B171-EEFC35D5FF9A}"/>
              </a:ext>
            </a:extLst>
          </p:cNvPr>
          <p:cNvGrpSpPr/>
          <p:nvPr/>
        </p:nvGrpSpPr>
        <p:grpSpPr>
          <a:xfrm>
            <a:off x="348421" y="791521"/>
            <a:ext cx="9029728" cy="5274478"/>
            <a:chOff x="348421" y="791521"/>
            <a:chExt cx="9029728" cy="5274478"/>
          </a:xfrm>
        </p:grpSpPr>
        <p:sp>
          <p:nvSpPr>
            <p:cNvPr id="15" name="Retângulo 14">
              <a:extLst>
                <a:ext uri="{FF2B5EF4-FFF2-40B4-BE49-F238E27FC236}">
                  <a16:creationId xmlns:a16="http://schemas.microsoft.com/office/drawing/2014/main" id="{37E9E5D2-169B-EF89-0A27-B3F33A6E050E}"/>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6" name="Imagem 15">
              <a:extLst>
                <a:ext uri="{FF2B5EF4-FFF2-40B4-BE49-F238E27FC236}">
                  <a16:creationId xmlns:a16="http://schemas.microsoft.com/office/drawing/2014/main" id="{0E983806-9F17-FAB1-7D8A-B932C5279E0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585661" y="792000"/>
              <a:ext cx="6528302" cy="2811702"/>
            </a:xfrm>
            <a:prstGeom prst="rect">
              <a:avLst/>
            </a:prstGeom>
          </p:spPr>
        </p:pic>
        <p:sp>
          <p:nvSpPr>
            <p:cNvPr id="17" name="Retângulo 16">
              <a:extLst>
                <a:ext uri="{FF2B5EF4-FFF2-40B4-BE49-F238E27FC236}">
                  <a16:creationId xmlns:a16="http://schemas.microsoft.com/office/drawing/2014/main" id="{4A0343BB-F56A-067E-B5CA-84792372D835}"/>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8" name="Imagem 17">
              <a:extLst>
                <a:ext uri="{FF2B5EF4-FFF2-40B4-BE49-F238E27FC236}">
                  <a16:creationId xmlns:a16="http://schemas.microsoft.com/office/drawing/2014/main" id="{074ED3C0-8C35-3557-FAFD-6965B9978173}"/>
                </a:ext>
              </a:extLst>
            </p:cNvPr>
            <p:cNvPicPr>
              <a:picLocks noChangeAspect="1"/>
            </p:cNvPicPr>
            <p:nvPr/>
          </p:nvPicPr>
          <p:blipFill rotWithShape="1">
            <a:blip r:embed="rId3">
              <a:clrChange>
                <a:clrFrom>
                  <a:srgbClr val="FFFFFF"/>
                </a:clrFrom>
                <a:clrTo>
                  <a:srgbClr val="FFFFFF">
                    <a:alpha val="0"/>
                  </a:srgbClr>
                </a:clrTo>
              </a:clrChange>
            </a:blip>
            <a:srcRect l="25533" t="42972" r="47750"/>
            <a:stretch/>
          </p:blipFill>
          <p:spPr>
            <a:xfrm>
              <a:off x="3256483" y="2000250"/>
              <a:ext cx="1744142" cy="1603452"/>
            </a:xfrm>
            <a:prstGeom prst="rect">
              <a:avLst/>
            </a:prstGeom>
          </p:spPr>
        </p:pic>
      </p:grpSp>
      <p:sp>
        <p:nvSpPr>
          <p:cNvPr id="19" name="Retângulo 18">
            <a:extLst>
              <a:ext uri="{FF2B5EF4-FFF2-40B4-BE49-F238E27FC236}">
                <a16:creationId xmlns:a16="http://schemas.microsoft.com/office/drawing/2014/main" id="{85EB0156-F778-BE70-E6F9-793018BB541E}"/>
              </a:ext>
            </a:extLst>
          </p:cNvPr>
          <p:cNvSpPr/>
          <p:nvPr/>
        </p:nvSpPr>
        <p:spPr>
          <a:xfrm>
            <a:off x="334949" y="3676650"/>
            <a:ext cx="9016252" cy="234201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pic>
        <p:nvPicPr>
          <p:cNvPr id="3" name="Imagem 2">
            <a:extLst>
              <a:ext uri="{FF2B5EF4-FFF2-40B4-BE49-F238E27FC236}">
                <a16:creationId xmlns:a16="http://schemas.microsoft.com/office/drawing/2014/main" id="{CF8DBEE9-4A4A-9718-0B80-907832D1CE7E}"/>
              </a:ext>
            </a:extLst>
          </p:cNvPr>
          <p:cNvPicPr>
            <a:picLocks noChangeAspect="1"/>
          </p:cNvPicPr>
          <p:nvPr/>
        </p:nvPicPr>
        <p:blipFill>
          <a:blip r:embed="rId4"/>
          <a:stretch>
            <a:fillRect/>
          </a:stretch>
        </p:blipFill>
        <p:spPr>
          <a:xfrm>
            <a:off x="6462900" y="3800697"/>
            <a:ext cx="2091995" cy="2093920"/>
          </a:xfrm>
          <a:prstGeom prst="rect">
            <a:avLst/>
          </a:prstGeom>
        </p:spPr>
      </p:pic>
      <p:sp>
        <p:nvSpPr>
          <p:cNvPr id="9" name="Google Shape;237;p31">
            <a:extLst>
              <a:ext uri="{FF2B5EF4-FFF2-40B4-BE49-F238E27FC236}">
                <a16:creationId xmlns:a16="http://schemas.microsoft.com/office/drawing/2014/main" id="{4C9B7DC5-8CCA-5870-8C0B-16C31FB9927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not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spTree>
    <p:extLst>
      <p:ext uri="{BB962C8B-B14F-4D97-AF65-F5344CB8AC3E}">
        <p14:creationId xmlns:p14="http://schemas.microsoft.com/office/powerpoint/2010/main" val="4889426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15" name="Agrupar 14">
            <a:extLst>
              <a:ext uri="{FF2B5EF4-FFF2-40B4-BE49-F238E27FC236}">
                <a16:creationId xmlns:a16="http://schemas.microsoft.com/office/drawing/2014/main" id="{7264400B-245D-C6F8-31E5-27C4A5AC63F7}"/>
              </a:ext>
            </a:extLst>
          </p:cNvPr>
          <p:cNvGrpSpPr/>
          <p:nvPr/>
        </p:nvGrpSpPr>
        <p:grpSpPr>
          <a:xfrm>
            <a:off x="348421" y="791521"/>
            <a:ext cx="9029728" cy="5274478"/>
            <a:chOff x="348421" y="791521"/>
            <a:chExt cx="9029728" cy="5274478"/>
          </a:xfrm>
        </p:grpSpPr>
        <p:sp>
          <p:nvSpPr>
            <p:cNvPr id="16" name="Retângulo 15">
              <a:extLst>
                <a:ext uri="{FF2B5EF4-FFF2-40B4-BE49-F238E27FC236}">
                  <a16:creationId xmlns:a16="http://schemas.microsoft.com/office/drawing/2014/main" id="{BBD0993E-6B1B-1A92-C68D-E17F69E8B952}"/>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9D1931A7-5899-683E-A481-59C9E86F074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585661" y="792000"/>
              <a:ext cx="6528302" cy="2811702"/>
            </a:xfrm>
            <a:prstGeom prst="rect">
              <a:avLst/>
            </a:prstGeom>
          </p:spPr>
        </p:pic>
        <p:sp>
          <p:nvSpPr>
            <p:cNvPr id="18" name="Retângulo 17">
              <a:extLst>
                <a:ext uri="{FF2B5EF4-FFF2-40B4-BE49-F238E27FC236}">
                  <a16:creationId xmlns:a16="http://schemas.microsoft.com/office/drawing/2014/main" id="{7DB9C9C8-4164-F4C2-DB47-D2AD1F1B881B}"/>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9" name="Imagem 18">
              <a:extLst>
                <a:ext uri="{FF2B5EF4-FFF2-40B4-BE49-F238E27FC236}">
                  <a16:creationId xmlns:a16="http://schemas.microsoft.com/office/drawing/2014/main" id="{F53E338D-1A27-3932-FC46-9DE0EA36B7B4}"/>
                </a:ext>
              </a:extLst>
            </p:cNvPr>
            <p:cNvPicPr>
              <a:picLocks noChangeAspect="1"/>
            </p:cNvPicPr>
            <p:nvPr/>
          </p:nvPicPr>
          <p:blipFill rotWithShape="1">
            <a:blip r:embed="rId3">
              <a:clrChange>
                <a:clrFrom>
                  <a:srgbClr val="FFFFFF"/>
                </a:clrFrom>
                <a:clrTo>
                  <a:srgbClr val="FFFFFF">
                    <a:alpha val="0"/>
                  </a:srgbClr>
                </a:clrTo>
              </a:clrChange>
            </a:blip>
            <a:srcRect l="48149" t="42972" r="25134"/>
            <a:stretch/>
          </p:blipFill>
          <p:spPr>
            <a:xfrm>
              <a:off x="4732858" y="2000250"/>
              <a:ext cx="1744142" cy="1603452"/>
            </a:xfrm>
            <a:prstGeom prst="rect">
              <a:avLst/>
            </a:prstGeom>
          </p:spPr>
        </p:pic>
      </p:grpSp>
      <p:sp>
        <p:nvSpPr>
          <p:cNvPr id="20" name="Retângulo 19">
            <a:extLst>
              <a:ext uri="{FF2B5EF4-FFF2-40B4-BE49-F238E27FC236}">
                <a16:creationId xmlns:a16="http://schemas.microsoft.com/office/drawing/2014/main" id="{82C5C038-98C0-C213-B8A8-0A8FE92D297E}"/>
              </a:ext>
            </a:extLst>
          </p:cNvPr>
          <p:cNvSpPr/>
          <p:nvPr/>
        </p:nvSpPr>
        <p:spPr>
          <a:xfrm>
            <a:off x="334949" y="3676650"/>
            <a:ext cx="9016252" cy="234201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0" name="Google Shape;237;p31">
            <a:extLst>
              <a:ext uri="{FF2B5EF4-FFF2-40B4-BE49-F238E27FC236}">
                <a16:creationId xmlns:a16="http://schemas.microsoft.com/office/drawing/2014/main" id="{A9A47145-6536-0164-BA4A-9E4C27E5E1A0}"/>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Background environment made with digital</a:t>
            </a:r>
            <a:br>
              <a:rPr lang="en-US" dirty="0"/>
            </a:br>
            <a:r>
              <a:rPr lang="en-US" dirty="0"/>
              <a:t>elements.</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pic>
        <p:nvPicPr>
          <p:cNvPr id="4" name="Gráfico 3">
            <a:extLst>
              <a:ext uri="{FF2B5EF4-FFF2-40B4-BE49-F238E27FC236}">
                <a16:creationId xmlns:a16="http://schemas.microsoft.com/office/drawing/2014/main" id="{CCEE14EF-3147-99F0-4381-E219D57D0A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72201" y="3800697"/>
            <a:ext cx="2857707" cy="2093920"/>
          </a:xfrm>
          <a:prstGeom prst="rect">
            <a:avLst/>
          </a:prstGeom>
        </p:spPr>
      </p:pic>
    </p:spTree>
    <p:extLst>
      <p:ext uri="{BB962C8B-B14F-4D97-AF65-F5344CB8AC3E}">
        <p14:creationId xmlns:p14="http://schemas.microsoft.com/office/powerpoint/2010/main" val="28420896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10" name="Agrupar 9">
            <a:extLst>
              <a:ext uri="{FF2B5EF4-FFF2-40B4-BE49-F238E27FC236}">
                <a16:creationId xmlns:a16="http://schemas.microsoft.com/office/drawing/2014/main" id="{16FCE276-045A-07BD-E105-31944798E4D0}"/>
              </a:ext>
            </a:extLst>
          </p:cNvPr>
          <p:cNvGrpSpPr/>
          <p:nvPr/>
        </p:nvGrpSpPr>
        <p:grpSpPr>
          <a:xfrm>
            <a:off x="348421" y="663669"/>
            <a:ext cx="9029728" cy="5402330"/>
            <a:chOff x="348421" y="663669"/>
            <a:chExt cx="9029728" cy="5402330"/>
          </a:xfrm>
        </p:grpSpPr>
        <p:sp>
          <p:nvSpPr>
            <p:cNvPr id="12" name="Retângulo 11">
              <a:extLst>
                <a:ext uri="{FF2B5EF4-FFF2-40B4-BE49-F238E27FC236}">
                  <a16:creationId xmlns:a16="http://schemas.microsoft.com/office/drawing/2014/main" id="{27EAEAFF-4FE5-5332-4746-408E60A0282D}"/>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3" name="Imagem 12">
              <a:extLst>
                <a:ext uri="{FF2B5EF4-FFF2-40B4-BE49-F238E27FC236}">
                  <a16:creationId xmlns:a16="http://schemas.microsoft.com/office/drawing/2014/main" id="{6ED66963-8911-C509-8F97-51C9F7B6160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585661" y="792000"/>
              <a:ext cx="6528302" cy="2811702"/>
            </a:xfrm>
            <a:prstGeom prst="rect">
              <a:avLst/>
            </a:prstGeom>
          </p:spPr>
        </p:pic>
        <p:sp>
          <p:nvSpPr>
            <p:cNvPr id="15" name="Retângulo 14">
              <a:extLst>
                <a:ext uri="{FF2B5EF4-FFF2-40B4-BE49-F238E27FC236}">
                  <a16:creationId xmlns:a16="http://schemas.microsoft.com/office/drawing/2014/main" id="{9B16DFB3-41C4-E242-E950-A572CB43DAAA}"/>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6" name="Imagem 15">
              <a:extLst>
                <a:ext uri="{FF2B5EF4-FFF2-40B4-BE49-F238E27FC236}">
                  <a16:creationId xmlns:a16="http://schemas.microsoft.com/office/drawing/2014/main" id="{73BE71AB-AFC6-9473-11E2-15049C1A06D3}"/>
                </a:ext>
              </a:extLst>
            </p:cNvPr>
            <p:cNvPicPr>
              <a:picLocks noChangeAspect="1"/>
            </p:cNvPicPr>
            <p:nvPr/>
          </p:nvPicPr>
          <p:blipFill rotWithShape="1">
            <a:blip r:embed="rId3">
              <a:clrChange>
                <a:clrFrom>
                  <a:srgbClr val="FFFFFF"/>
                </a:clrFrom>
                <a:clrTo>
                  <a:srgbClr val="FFFFFF">
                    <a:alpha val="0"/>
                  </a:srgbClr>
                </a:clrTo>
              </a:clrChange>
            </a:blip>
            <a:srcRect l="37233" t="-4564" r="36050" b="47536"/>
            <a:stretch/>
          </p:blipFill>
          <p:spPr>
            <a:xfrm>
              <a:off x="4020267" y="663669"/>
              <a:ext cx="1744142" cy="1603452"/>
            </a:xfrm>
            <a:prstGeom prst="rect">
              <a:avLst/>
            </a:prstGeom>
          </p:spPr>
        </p:pic>
      </p:grpSp>
      <p:sp>
        <p:nvSpPr>
          <p:cNvPr id="19" name="Retângulo 18">
            <a:extLst>
              <a:ext uri="{FF2B5EF4-FFF2-40B4-BE49-F238E27FC236}">
                <a16:creationId xmlns:a16="http://schemas.microsoft.com/office/drawing/2014/main" id="{EC666797-EE78-F762-767B-539B2EB6059D}"/>
              </a:ext>
            </a:extLst>
          </p:cNvPr>
          <p:cNvSpPr/>
          <p:nvPr/>
        </p:nvSpPr>
        <p:spPr>
          <a:xfrm>
            <a:off x="334949" y="3676650"/>
            <a:ext cx="9016252" cy="234201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9" name="Google Shape;237;p31">
            <a:extLst>
              <a:ext uri="{FF2B5EF4-FFF2-40B4-BE49-F238E27FC236}">
                <a16:creationId xmlns:a16="http://schemas.microsoft.com/office/drawing/2014/main" id="{E96CDD25-C541-9B5E-7EE2-B6405C30385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digital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pic>
        <p:nvPicPr>
          <p:cNvPr id="8" name="Gráfico 7">
            <a:extLst>
              <a:ext uri="{FF2B5EF4-FFF2-40B4-BE49-F238E27FC236}">
                <a16:creationId xmlns:a16="http://schemas.microsoft.com/office/drawing/2014/main" id="{F048ED5E-A9F2-2276-E608-65A6A0CF55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90291" y="3799402"/>
            <a:ext cx="2096509" cy="2096509"/>
          </a:xfrm>
          <a:prstGeom prst="rect">
            <a:avLst/>
          </a:prstGeom>
        </p:spPr>
      </p:pic>
    </p:spTree>
    <p:extLst>
      <p:ext uri="{BB962C8B-B14F-4D97-AF65-F5344CB8AC3E}">
        <p14:creationId xmlns:p14="http://schemas.microsoft.com/office/powerpoint/2010/main" val="2963220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10" name="Agrupar 9">
            <a:extLst>
              <a:ext uri="{FF2B5EF4-FFF2-40B4-BE49-F238E27FC236}">
                <a16:creationId xmlns:a16="http://schemas.microsoft.com/office/drawing/2014/main" id="{0EA63007-66BD-8F1C-1533-12CDEA6D4B87}"/>
              </a:ext>
            </a:extLst>
          </p:cNvPr>
          <p:cNvGrpSpPr/>
          <p:nvPr/>
        </p:nvGrpSpPr>
        <p:grpSpPr>
          <a:xfrm>
            <a:off x="348421" y="791521"/>
            <a:ext cx="9029728" cy="5274478"/>
            <a:chOff x="348421" y="791521"/>
            <a:chExt cx="9029728" cy="5274478"/>
          </a:xfrm>
        </p:grpSpPr>
        <p:sp>
          <p:nvSpPr>
            <p:cNvPr id="15" name="Retângulo 14">
              <a:extLst>
                <a:ext uri="{FF2B5EF4-FFF2-40B4-BE49-F238E27FC236}">
                  <a16:creationId xmlns:a16="http://schemas.microsoft.com/office/drawing/2014/main" id="{DCAAA10B-7E37-7AD0-E835-50C677747352}"/>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6" name="Imagem 15">
              <a:extLst>
                <a:ext uri="{FF2B5EF4-FFF2-40B4-BE49-F238E27FC236}">
                  <a16:creationId xmlns:a16="http://schemas.microsoft.com/office/drawing/2014/main" id="{270D8BFA-7344-BCB9-298F-C0EAB5080AB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585661" y="792000"/>
              <a:ext cx="6528302" cy="2811702"/>
            </a:xfrm>
            <a:prstGeom prst="rect">
              <a:avLst/>
            </a:prstGeom>
          </p:spPr>
        </p:pic>
        <p:sp>
          <p:nvSpPr>
            <p:cNvPr id="17" name="Retângulo 16">
              <a:extLst>
                <a:ext uri="{FF2B5EF4-FFF2-40B4-BE49-F238E27FC236}">
                  <a16:creationId xmlns:a16="http://schemas.microsoft.com/office/drawing/2014/main" id="{77253CFF-1B8B-84C9-A17A-FC8F35F24421}"/>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8" name="Imagem 17">
              <a:extLst>
                <a:ext uri="{FF2B5EF4-FFF2-40B4-BE49-F238E27FC236}">
                  <a16:creationId xmlns:a16="http://schemas.microsoft.com/office/drawing/2014/main" id="{CA6629C1-E76F-EC0A-447D-744EECC615EF}"/>
                </a:ext>
              </a:extLst>
            </p:cNvPr>
            <p:cNvPicPr>
              <a:picLocks noChangeAspect="1"/>
            </p:cNvPicPr>
            <p:nvPr/>
          </p:nvPicPr>
          <p:blipFill rotWithShape="1">
            <a:blip r:embed="rId3">
              <a:clrChange>
                <a:clrFrom>
                  <a:srgbClr val="FFFFFF"/>
                </a:clrFrom>
                <a:clrTo>
                  <a:srgbClr val="FFFFFF">
                    <a:alpha val="0"/>
                  </a:srgbClr>
                </a:clrTo>
              </a:clrChange>
            </a:blip>
            <a:srcRect l="73284" t="42972" r="-1"/>
            <a:stretch/>
          </p:blipFill>
          <p:spPr>
            <a:xfrm>
              <a:off x="6373768" y="2000250"/>
              <a:ext cx="1744142" cy="1603452"/>
            </a:xfrm>
            <a:prstGeom prst="rect">
              <a:avLst/>
            </a:prstGeom>
          </p:spPr>
        </p:pic>
      </p:grpSp>
      <p:sp>
        <p:nvSpPr>
          <p:cNvPr id="19" name="Retângulo 18">
            <a:extLst>
              <a:ext uri="{FF2B5EF4-FFF2-40B4-BE49-F238E27FC236}">
                <a16:creationId xmlns:a16="http://schemas.microsoft.com/office/drawing/2014/main" id="{15DA3B5D-A3C8-EE42-1F1F-D3557019B0E5}"/>
              </a:ext>
            </a:extLst>
          </p:cNvPr>
          <p:cNvSpPr/>
          <p:nvPr/>
        </p:nvSpPr>
        <p:spPr>
          <a:xfrm>
            <a:off x="334949" y="3676650"/>
            <a:ext cx="9016252" cy="234201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pic>
        <p:nvPicPr>
          <p:cNvPr id="3" name="Imagem 2">
            <a:extLst>
              <a:ext uri="{FF2B5EF4-FFF2-40B4-BE49-F238E27FC236}">
                <a16:creationId xmlns:a16="http://schemas.microsoft.com/office/drawing/2014/main" id="{3E8E50F6-FC1F-05CA-86D1-A03B0341E31D}"/>
              </a:ext>
            </a:extLst>
          </p:cNvPr>
          <p:cNvPicPr>
            <a:picLocks noChangeAspect="1"/>
          </p:cNvPicPr>
          <p:nvPr/>
        </p:nvPicPr>
        <p:blipFill>
          <a:blip r:embed="rId4"/>
          <a:stretch>
            <a:fillRect/>
          </a:stretch>
        </p:blipFill>
        <p:spPr>
          <a:xfrm>
            <a:off x="6634350" y="3704801"/>
            <a:ext cx="2285711" cy="2285711"/>
          </a:xfrm>
          <a:prstGeom prst="rect">
            <a:avLst/>
          </a:prstGeom>
        </p:spPr>
      </p:pic>
      <p:sp>
        <p:nvSpPr>
          <p:cNvPr id="9" name="Google Shape;237;p31">
            <a:extLst>
              <a:ext uri="{FF2B5EF4-FFF2-40B4-BE49-F238E27FC236}">
                <a16:creationId xmlns:a16="http://schemas.microsoft.com/office/drawing/2014/main" id="{0DC7AB32-EE36-3F9D-A99C-D38347F25B86}"/>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All elements are digital and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spTree>
    <p:extLst>
      <p:ext uri="{BB962C8B-B14F-4D97-AF65-F5344CB8AC3E}">
        <p14:creationId xmlns:p14="http://schemas.microsoft.com/office/powerpoint/2010/main" val="13993770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8720339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E1B5F7B0-E6D4-102D-C530-CA620CFA8911}"/>
              </a:ext>
            </a:extLst>
          </p:cNvPr>
          <p:cNvSpPr>
            <a:spLocks noGrp="1"/>
          </p:cNvSpPr>
          <p:nvPr>
            <p:ph type="body" idx="1"/>
          </p:nvPr>
        </p:nvSpPr>
        <p:spPr/>
        <p:txBody>
          <a:bodyPr numCol="2"/>
          <a:lstStyle/>
          <a:p>
            <a:r>
              <a:rPr lang="pt-BR" sz="1600" dirty="0"/>
              <a:t>Introdução</a:t>
            </a:r>
          </a:p>
          <a:p>
            <a:pPr lvl="1"/>
            <a:r>
              <a:rPr lang="pt-BR" sz="1400" dirty="0"/>
              <a:t>    Motivação</a:t>
            </a:r>
          </a:p>
          <a:p>
            <a:pPr lvl="1"/>
            <a:r>
              <a:rPr lang="pt-BR" sz="1200" b="0" i="0" dirty="0">
                <a:solidFill>
                  <a:srgbClr val="28214E"/>
                </a:solidFill>
                <a:effectLst/>
                <a:latin typeface="Open Sans" panose="020B0606030504020204" pitchFamily="34" charset="0"/>
              </a:rPr>
              <a:t>✔</a:t>
            </a:r>
            <a:r>
              <a:rPr lang="pt-BR" sz="1200" dirty="0">
                <a:solidFill>
                  <a:srgbClr val="28214E"/>
                </a:solidFill>
                <a:latin typeface="Open Sans" panose="020B0606030504020204" pitchFamily="34" charset="0"/>
              </a:rPr>
              <a:t> </a:t>
            </a:r>
            <a:r>
              <a:rPr lang="pt-BR" sz="1400" dirty="0"/>
              <a:t>Fatores Humanos </a:t>
            </a:r>
          </a:p>
          <a:p>
            <a:pPr lvl="2"/>
            <a:r>
              <a:rPr lang="pt-BR" sz="1200" b="0" i="0" dirty="0">
                <a:solidFill>
                  <a:srgbClr val="28214E"/>
                </a:solidFill>
                <a:effectLst/>
                <a:latin typeface="Open Sans" panose="020B0606030504020204" pitchFamily="34" charset="0"/>
              </a:rPr>
              <a:t>✔ </a:t>
            </a:r>
            <a:r>
              <a:rPr lang="pt-BR" sz="1400" dirty="0"/>
              <a:t>Carga Mental</a:t>
            </a:r>
          </a:p>
          <a:p>
            <a:pPr lvl="2"/>
            <a:r>
              <a:rPr lang="pt-BR" sz="1200" b="0" i="0" dirty="0">
                <a:solidFill>
                  <a:srgbClr val="28214E"/>
                </a:solidFill>
                <a:effectLst/>
                <a:latin typeface="Open Sans" panose="020B0606030504020204" pitchFamily="34" charset="0"/>
              </a:rPr>
              <a:t>✔ </a:t>
            </a:r>
            <a:r>
              <a:rPr lang="pt-BR" sz="1400" dirty="0"/>
              <a:t>Consciência Situacional</a:t>
            </a:r>
          </a:p>
          <a:p>
            <a:pPr lvl="1"/>
            <a:r>
              <a:rPr lang="pt-BR" sz="1200" b="0" i="0" dirty="0">
                <a:solidFill>
                  <a:srgbClr val="28214E"/>
                </a:solidFill>
                <a:effectLst/>
                <a:latin typeface="Open Sans" panose="020B0606030504020204" pitchFamily="34" charset="0"/>
              </a:rPr>
              <a:t>✔ </a:t>
            </a:r>
            <a:r>
              <a:rPr lang="pt-BR" sz="1400" dirty="0"/>
              <a:t>Realidade Estendida </a:t>
            </a:r>
          </a:p>
          <a:p>
            <a:pPr lvl="1"/>
            <a:r>
              <a:rPr lang="pt-BR" sz="1400" dirty="0"/>
              <a:t>    </a:t>
            </a:r>
            <a:r>
              <a:rPr lang="pt-BR" sz="1400" dirty="0" err="1"/>
              <a:t>Co-design</a:t>
            </a:r>
            <a:endParaRPr lang="pt-BR" sz="1400" dirty="0"/>
          </a:p>
          <a:p>
            <a:r>
              <a:rPr lang="pt-BR" sz="1600" dirty="0"/>
              <a:t>Objetivos e abordagem</a:t>
            </a:r>
          </a:p>
          <a:p>
            <a:pPr lvl="1"/>
            <a:r>
              <a:rPr lang="pt-BR" sz="1200" b="0" i="0" dirty="0">
                <a:solidFill>
                  <a:srgbClr val="28214E"/>
                </a:solidFill>
                <a:effectLst/>
                <a:latin typeface="Open Sans" panose="020B0606030504020204" pitchFamily="34" charset="0"/>
              </a:rPr>
              <a:t>✔ </a:t>
            </a:r>
            <a:r>
              <a:rPr lang="pt-BR" sz="1400" dirty="0"/>
              <a:t>Objetivos</a:t>
            </a:r>
          </a:p>
          <a:p>
            <a:pPr lvl="1"/>
            <a:r>
              <a:rPr lang="pt-BR" sz="1200" b="0" i="0" dirty="0">
                <a:solidFill>
                  <a:srgbClr val="28214E"/>
                </a:solidFill>
                <a:effectLst/>
                <a:latin typeface="Open Sans" panose="020B0606030504020204" pitchFamily="34" charset="0"/>
              </a:rPr>
              <a:t>✔</a:t>
            </a:r>
            <a:r>
              <a:rPr lang="pt-BR" sz="1400" b="0" i="0" dirty="0">
                <a:solidFill>
                  <a:srgbClr val="28214E"/>
                </a:solidFill>
                <a:effectLst/>
                <a:latin typeface="Open Sans" panose="020B0606030504020204" pitchFamily="34" charset="0"/>
              </a:rPr>
              <a:t> </a:t>
            </a:r>
            <a:r>
              <a:rPr lang="pt-BR" sz="1400" dirty="0"/>
              <a:t>Abordagem</a:t>
            </a:r>
          </a:p>
          <a:p>
            <a:r>
              <a:rPr lang="pt-BR" sz="1600" dirty="0"/>
              <a:t>Materiais e Métodos</a:t>
            </a:r>
          </a:p>
          <a:p>
            <a:pPr lvl="1"/>
            <a:r>
              <a:rPr lang="pt-BR" sz="1200" b="0" i="0" dirty="0">
                <a:solidFill>
                  <a:srgbClr val="28214E"/>
                </a:solidFill>
                <a:effectLst/>
                <a:latin typeface="Open Sans" panose="020B0606030504020204" pitchFamily="34" charset="0"/>
              </a:rPr>
              <a:t> </a:t>
            </a:r>
            <a:r>
              <a:rPr lang="pt-BR" sz="1400" dirty="0"/>
              <a:t>5 Passos da metodologia</a:t>
            </a:r>
          </a:p>
          <a:p>
            <a:pPr lvl="1"/>
            <a:endParaRPr lang="pt-BR" sz="1400" dirty="0"/>
          </a:p>
          <a:p>
            <a:pPr lvl="1"/>
            <a:endParaRPr lang="pt-BR" sz="1400" dirty="0"/>
          </a:p>
          <a:p>
            <a:pPr marL="622300" lvl="1" indent="0">
              <a:buNone/>
            </a:pPr>
            <a:endParaRPr lang="pt-BR" sz="1400" dirty="0"/>
          </a:p>
          <a:p>
            <a:pPr marL="622300" lvl="1" indent="0">
              <a:buNone/>
            </a:pPr>
            <a:endParaRPr lang="pt-BR" sz="1400" dirty="0"/>
          </a:p>
          <a:p>
            <a:pPr marL="622300" lvl="1" indent="0">
              <a:buNone/>
            </a:pPr>
            <a:endParaRPr lang="pt-BR" sz="1400" dirty="0"/>
          </a:p>
          <a:p>
            <a:pPr marL="622300" lvl="1" indent="0">
              <a:buNone/>
            </a:pPr>
            <a:endParaRPr lang="pt-BR" sz="1400" dirty="0"/>
          </a:p>
          <a:p>
            <a:r>
              <a:rPr lang="pt-BR" sz="1600" dirty="0"/>
              <a:t>Resultados e discussão</a:t>
            </a:r>
          </a:p>
          <a:p>
            <a:pPr lvl="1"/>
            <a:r>
              <a:rPr lang="pt-BR" sz="1400" dirty="0" err="1"/>
              <a:t>Obj</a:t>
            </a:r>
            <a:r>
              <a:rPr lang="pt-BR" sz="1400" dirty="0"/>
              <a:t> 1</a:t>
            </a:r>
          </a:p>
          <a:p>
            <a:pPr lvl="2"/>
            <a:r>
              <a:rPr lang="pt-BR" sz="1400" dirty="0"/>
              <a:t>Sub</a:t>
            </a:r>
          </a:p>
          <a:p>
            <a:pPr lvl="2"/>
            <a:r>
              <a:rPr lang="pt-BR" sz="1400" dirty="0"/>
              <a:t>Sensores</a:t>
            </a:r>
          </a:p>
          <a:p>
            <a:pPr lvl="1"/>
            <a:r>
              <a:rPr lang="pt-BR" sz="1400" dirty="0"/>
              <a:t>Obj2</a:t>
            </a:r>
          </a:p>
          <a:p>
            <a:pPr lvl="2"/>
            <a:r>
              <a:rPr lang="pt-BR" sz="1400" dirty="0"/>
              <a:t>Sub</a:t>
            </a:r>
          </a:p>
          <a:p>
            <a:pPr lvl="2"/>
            <a:r>
              <a:rPr lang="pt-BR" sz="1400" dirty="0"/>
              <a:t>Sensor</a:t>
            </a:r>
          </a:p>
          <a:p>
            <a:r>
              <a:rPr lang="pt-BR" sz="1600" dirty="0"/>
              <a:t>Conclusão</a:t>
            </a:r>
          </a:p>
          <a:p>
            <a:pPr lvl="1"/>
            <a:r>
              <a:rPr lang="pt-BR" sz="1200" b="0" i="0" dirty="0">
                <a:solidFill>
                  <a:srgbClr val="28214E"/>
                </a:solidFill>
                <a:effectLst/>
                <a:latin typeface="Open Sans" panose="020B0606030504020204" pitchFamily="34" charset="0"/>
              </a:rPr>
              <a:t>✔ </a:t>
            </a:r>
            <a:r>
              <a:rPr lang="pt-BR" sz="1400" dirty="0"/>
              <a:t>Conclusão</a:t>
            </a:r>
          </a:p>
          <a:p>
            <a:pPr lvl="1"/>
            <a:r>
              <a:rPr lang="pt-BR" sz="1400" dirty="0"/>
              <a:t>Trabalhos futuros</a:t>
            </a:r>
          </a:p>
        </p:txBody>
      </p:sp>
      <p:sp>
        <p:nvSpPr>
          <p:cNvPr id="3" name="Espaço Reservado para Texto 2">
            <a:extLst>
              <a:ext uri="{FF2B5EF4-FFF2-40B4-BE49-F238E27FC236}">
                <a16:creationId xmlns:a16="http://schemas.microsoft.com/office/drawing/2014/main" id="{E847A430-0103-30AA-6AEE-1601A4B59041}"/>
              </a:ext>
            </a:extLst>
          </p:cNvPr>
          <p:cNvSpPr>
            <a:spLocks noGrp="1"/>
          </p:cNvSpPr>
          <p:nvPr>
            <p:ph type="body" idx="2"/>
          </p:nvPr>
        </p:nvSpPr>
        <p:spPr/>
        <p:txBody>
          <a:bodyPr/>
          <a:lstStyle/>
          <a:p>
            <a:r>
              <a:rPr lang="pt-BR" dirty="0"/>
              <a:t>Roteiro</a:t>
            </a:r>
          </a:p>
        </p:txBody>
      </p:sp>
      <p:sp>
        <p:nvSpPr>
          <p:cNvPr id="4" name="Espaço Reservado para Texto 3">
            <a:extLst>
              <a:ext uri="{FF2B5EF4-FFF2-40B4-BE49-F238E27FC236}">
                <a16:creationId xmlns:a16="http://schemas.microsoft.com/office/drawing/2014/main" id="{81FEF5E8-4568-1A8C-CD03-37917720FF28}"/>
              </a:ext>
            </a:extLst>
          </p:cNvPr>
          <p:cNvSpPr>
            <a:spLocks noGrp="1"/>
          </p:cNvSpPr>
          <p:nvPr>
            <p:ph type="body" idx="3"/>
          </p:nvPr>
        </p:nvSpPr>
        <p:spPr/>
        <p:txBody>
          <a:bodyPr/>
          <a:lstStyle/>
          <a:p>
            <a:endParaRPr lang="pt-BR"/>
          </a:p>
        </p:txBody>
      </p:sp>
    </p:spTree>
    <p:extLst>
      <p:ext uri="{BB962C8B-B14F-4D97-AF65-F5344CB8AC3E}">
        <p14:creationId xmlns:p14="http://schemas.microsoft.com/office/powerpoint/2010/main" val="34434154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98C981DF-5BB1-56F7-DBB4-7BD6A3D3FCC2}"/>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30AE0EE-C78E-80B6-66F8-AED296F8BE32}"/>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AF5F613-3239-48B8-A658-218AE3066BE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AC13E1C6-E487-5CF9-11EC-FE85E1C2CE6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59E80B6F-02D1-FCC9-299F-F0BD43A802B9}"/>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20DECFB0-A2E9-7D2B-DD28-6DA37C861685}"/>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B84E1D99-A77C-DA65-26A7-751A4A4A9BDE}"/>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80E39DC-07FB-0869-7D0F-ED4CDEAC285E}"/>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EE326032-32E8-C461-03CA-ACA6070D3EB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394242A0-3266-B36C-A87C-D98AC8B3625C}"/>
              </a:ext>
            </a:extLst>
          </p:cNvPr>
          <p:cNvSpPr/>
          <p:nvPr>
            <p:custDataLst>
              <p:tags r:id="rId11"/>
            </p:custDataLst>
          </p:nvPr>
        </p:nvSpPr>
        <p:spPr>
          <a:xfrm>
            <a:off x="1287264" y="2202137"/>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3F7DEC50-98D0-F8C4-56BE-D3DBA3AC984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dirty="0" err="1">
                <a:solidFill>
                  <a:srgbClr val="FFFFFF">
                    <a:lumMod val="100000"/>
                  </a:srgbClr>
                </a:solidFill>
                <a:latin typeface="Calibri" panose="020F0502020204030204" pitchFamily="34" charset="0"/>
              </a:rPr>
              <a:t>Objectives</a:t>
            </a:r>
            <a:r>
              <a:rPr lang="pt-BR" sz="2200" dirty="0">
                <a:solidFill>
                  <a:srgbClr val="FFFFFF">
                    <a:lumMod val="100000"/>
                  </a:srgbClr>
                </a:solidFill>
                <a:latin typeface="Calibri" panose="020F0502020204030204" pitchFamily="34" charset="0"/>
              </a:rPr>
              <a:t> </a:t>
            </a:r>
            <a:r>
              <a:rPr lang="pt-BR" sz="2200" dirty="0" err="1">
                <a:solidFill>
                  <a:srgbClr val="FFFFFF">
                    <a:lumMod val="100000"/>
                  </a:srgbClr>
                </a:solidFill>
                <a:latin typeface="Calibri" panose="020F0502020204030204" pitchFamily="34" charset="0"/>
              </a:rPr>
              <a:t>and</a:t>
            </a:r>
            <a:r>
              <a:rPr lang="pt-BR" sz="2200" dirty="0">
                <a:solidFill>
                  <a:srgbClr val="FFFFFF">
                    <a:lumMod val="100000"/>
                  </a:srgbClr>
                </a:solidFill>
                <a:latin typeface="Calibri" panose="020F0502020204030204" pitchFamily="34" charset="0"/>
              </a:rPr>
              <a:t> Approach</a:t>
            </a:r>
          </a:p>
        </p:txBody>
      </p:sp>
      <p:sp>
        <p:nvSpPr>
          <p:cNvPr id="57" name="Retângulo 56">
            <a:hlinkClick r:id="rId22" action="ppaction://hlinksldjump"/>
            <a:extLst>
              <a:ext uri="{FF2B5EF4-FFF2-40B4-BE49-F238E27FC236}">
                <a16:creationId xmlns:a16="http://schemas.microsoft.com/office/drawing/2014/main" id="{5F08AC1C-4F5E-546B-79FB-9253310D81E9}"/>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692163C7-A552-8DA7-5B18-4FA93CE9E6D1}"/>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4412FB0E-40AF-06A1-4EAB-C8141C6C35B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0F1BAEB-0CB8-F60D-22D9-1B377B66685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A2CD9DB-255B-6DF1-38A3-6130B6841553}"/>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2050468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41" name="Retângulo 40">
            <a:extLst>
              <a:ext uri="{FF2B5EF4-FFF2-40B4-BE49-F238E27FC236}">
                <a16:creationId xmlns:a16="http://schemas.microsoft.com/office/drawing/2014/main" id="{6D54975B-D491-F57E-345D-34470892C871}"/>
              </a:ext>
            </a:extLst>
          </p:cNvPr>
          <p:cNvSpPr/>
          <p:nvPr/>
        </p:nvSpPr>
        <p:spPr>
          <a:xfrm>
            <a:off x="334949" y="792000"/>
            <a:ext cx="2610187" cy="935028"/>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0" name="Retângulo 39">
            <a:extLst>
              <a:ext uri="{FF2B5EF4-FFF2-40B4-BE49-F238E27FC236}">
                <a16:creationId xmlns:a16="http://schemas.microsoft.com/office/drawing/2014/main" id="{F30BC525-D453-DCA5-C62A-E7ED7839675F}"/>
              </a:ext>
            </a:extLst>
          </p:cNvPr>
          <p:cNvSpPr/>
          <p:nvPr/>
        </p:nvSpPr>
        <p:spPr>
          <a:xfrm>
            <a:off x="3558374" y="792000"/>
            <a:ext cx="2610187" cy="935028"/>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2" name="Retângulo 11">
            <a:extLst>
              <a:ext uri="{FF2B5EF4-FFF2-40B4-BE49-F238E27FC236}">
                <a16:creationId xmlns:a16="http://schemas.microsoft.com/office/drawing/2014/main" id="{E1D250CF-D224-21EE-3887-756F31127729}"/>
              </a:ext>
            </a:extLst>
          </p:cNvPr>
          <p:cNvSpPr/>
          <p:nvPr/>
        </p:nvSpPr>
        <p:spPr>
          <a:xfrm>
            <a:off x="5006338" y="2321092"/>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2321092"/>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Objectives and Approach: </a:t>
            </a:r>
            <a:r>
              <a:rPr lang="en-US" b="0" i="1" dirty="0"/>
              <a:t>Objectives</a:t>
            </a: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2344877"/>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344877"/>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16" name="Retângulo 15">
            <a:extLst>
              <a:ext uri="{FF2B5EF4-FFF2-40B4-BE49-F238E27FC236}">
                <a16:creationId xmlns:a16="http://schemas.microsoft.com/office/drawing/2014/main" id="{D5C2E905-237D-E3FB-B920-D9240DB2DBBC}"/>
              </a:ext>
            </a:extLst>
          </p:cNvPr>
          <p:cNvSpPr/>
          <p:nvPr/>
        </p:nvSpPr>
        <p:spPr>
          <a:xfrm>
            <a:off x="334948" y="4477434"/>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18" name="Retângulo 17">
            <a:extLst>
              <a:ext uri="{FF2B5EF4-FFF2-40B4-BE49-F238E27FC236}">
                <a16:creationId xmlns:a16="http://schemas.microsoft.com/office/drawing/2014/main" id="{9888B9BD-DF72-51E2-0DAB-AD08515EA889}"/>
              </a:ext>
            </a:extLst>
          </p:cNvPr>
          <p:cNvSpPr/>
          <p:nvPr/>
        </p:nvSpPr>
        <p:spPr>
          <a:xfrm>
            <a:off x="2666648" y="4477434"/>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9" name="Retângulo 18">
            <a:extLst>
              <a:ext uri="{FF2B5EF4-FFF2-40B4-BE49-F238E27FC236}">
                <a16:creationId xmlns:a16="http://schemas.microsoft.com/office/drawing/2014/main" id="{6A0C5617-07C7-9A5C-BAC6-4ED101256CE8}"/>
              </a:ext>
            </a:extLst>
          </p:cNvPr>
          <p:cNvSpPr/>
          <p:nvPr/>
        </p:nvSpPr>
        <p:spPr>
          <a:xfrm>
            <a:off x="4998348" y="4477434"/>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0" name="Retângulo 19">
            <a:extLst>
              <a:ext uri="{FF2B5EF4-FFF2-40B4-BE49-F238E27FC236}">
                <a16:creationId xmlns:a16="http://schemas.microsoft.com/office/drawing/2014/main" id="{EA81080B-633F-7EB8-62E6-20E4A870F17F}"/>
              </a:ext>
            </a:extLst>
          </p:cNvPr>
          <p:cNvSpPr/>
          <p:nvPr/>
        </p:nvSpPr>
        <p:spPr>
          <a:xfrm>
            <a:off x="7330049" y="4477435"/>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21" name="Google Shape;237;p31">
            <a:extLst>
              <a:ext uri="{FF2B5EF4-FFF2-40B4-BE49-F238E27FC236}">
                <a16:creationId xmlns:a16="http://schemas.microsoft.com/office/drawing/2014/main" id="{FF77EA97-6BF8-BEBC-73E9-D0FF3BB17075}"/>
              </a:ext>
            </a:extLst>
          </p:cNvPr>
          <p:cNvSpPr txBox="1">
            <a:spLocks/>
          </p:cNvSpPr>
          <p:nvPr/>
        </p:nvSpPr>
        <p:spPr>
          <a:xfrm>
            <a:off x="334948" y="4142681"/>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1</a:t>
            </a:r>
            <a:br>
              <a:rPr lang="en-US" sz="1800" dirty="0"/>
            </a:br>
            <a:endParaRPr lang="en-US" sz="1800" dirty="0"/>
          </a:p>
          <a:p>
            <a:pPr marL="355600" indent="-355600">
              <a:spcBef>
                <a:spcPts val="0"/>
              </a:spcBef>
            </a:pPr>
            <a:r>
              <a:rPr lang="en-US" sz="1800" dirty="0"/>
              <a:t>Select a scenario and develop its virtual environment</a:t>
            </a:r>
            <a:endParaRPr lang="en-US" sz="2000" dirty="0"/>
          </a:p>
        </p:txBody>
      </p:sp>
      <p:sp>
        <p:nvSpPr>
          <p:cNvPr id="22" name="Google Shape;237;p31">
            <a:extLst>
              <a:ext uri="{FF2B5EF4-FFF2-40B4-BE49-F238E27FC236}">
                <a16:creationId xmlns:a16="http://schemas.microsoft.com/office/drawing/2014/main" id="{CE23F51B-9FAF-0F69-DBEF-C3832C3FAF36}"/>
              </a:ext>
            </a:extLst>
          </p:cNvPr>
          <p:cNvSpPr txBox="1">
            <a:spLocks/>
          </p:cNvSpPr>
          <p:nvPr/>
        </p:nvSpPr>
        <p:spPr>
          <a:xfrm>
            <a:off x="2666648" y="4142681"/>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2</a:t>
            </a:r>
            <a:br>
              <a:rPr lang="en-US" sz="1800" dirty="0"/>
            </a:br>
            <a:endParaRPr lang="en-US" sz="1800" dirty="0"/>
          </a:p>
          <a:p>
            <a:pPr marL="355600" indent="-355600">
              <a:spcBef>
                <a:spcPts val="0"/>
              </a:spcBef>
            </a:pPr>
            <a:r>
              <a:rPr lang="en-US" sz="1800" dirty="0"/>
              <a:t>Develop three conceptual assistive devices</a:t>
            </a:r>
            <a:endParaRPr lang="en-US" sz="2000" dirty="0"/>
          </a:p>
        </p:txBody>
      </p:sp>
      <p:sp>
        <p:nvSpPr>
          <p:cNvPr id="23" name="Google Shape;237;p31">
            <a:extLst>
              <a:ext uri="{FF2B5EF4-FFF2-40B4-BE49-F238E27FC236}">
                <a16:creationId xmlns:a16="http://schemas.microsoft.com/office/drawing/2014/main" id="{415D743D-A21C-46DC-3780-E47C74BC2A7C}"/>
              </a:ext>
            </a:extLst>
          </p:cNvPr>
          <p:cNvSpPr txBox="1">
            <a:spLocks/>
          </p:cNvSpPr>
          <p:nvPr/>
        </p:nvSpPr>
        <p:spPr>
          <a:xfrm>
            <a:off x="4998348" y="4142681"/>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3</a:t>
            </a:r>
            <a:br>
              <a:rPr lang="en-US" sz="1800" dirty="0"/>
            </a:br>
            <a:endParaRPr lang="en-US" sz="1800" dirty="0"/>
          </a:p>
          <a:p>
            <a:pPr marL="355600" indent="-355600">
              <a:spcBef>
                <a:spcPts val="0"/>
              </a:spcBef>
            </a:pPr>
            <a:r>
              <a:rPr lang="en-US" sz="1800" dirty="0"/>
              <a:t>Propose a set of evaluation methods</a:t>
            </a:r>
          </a:p>
          <a:p>
            <a:pPr marL="355600" indent="-355600">
              <a:spcBef>
                <a:spcPts val="0"/>
              </a:spcBef>
            </a:pPr>
            <a:endParaRPr lang="en-US" sz="2000" dirty="0"/>
          </a:p>
          <a:p>
            <a:pPr marL="0" indent="0">
              <a:spcBef>
                <a:spcPts val="0"/>
              </a:spcBef>
              <a:buNone/>
            </a:pPr>
            <a:endParaRPr lang="en-US" sz="2000" dirty="0"/>
          </a:p>
        </p:txBody>
      </p:sp>
      <p:sp>
        <p:nvSpPr>
          <p:cNvPr id="24" name="Google Shape;237;p31">
            <a:extLst>
              <a:ext uri="{FF2B5EF4-FFF2-40B4-BE49-F238E27FC236}">
                <a16:creationId xmlns:a16="http://schemas.microsoft.com/office/drawing/2014/main" id="{CFAFDE60-EEAA-EAA7-8A12-E52FEC4F9E40}"/>
              </a:ext>
            </a:extLst>
          </p:cNvPr>
          <p:cNvSpPr txBox="1">
            <a:spLocks/>
          </p:cNvSpPr>
          <p:nvPr/>
        </p:nvSpPr>
        <p:spPr>
          <a:xfrm>
            <a:off x="7330049" y="4142682"/>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4</a:t>
            </a:r>
            <a:br>
              <a:rPr lang="en-US" sz="1800" dirty="0"/>
            </a:br>
            <a:endParaRPr lang="en-US" sz="1800" dirty="0"/>
          </a:p>
          <a:p>
            <a:pPr marL="355600" indent="-355600">
              <a:spcBef>
                <a:spcPts val="0"/>
              </a:spcBef>
            </a:pPr>
            <a:r>
              <a:rPr lang="en-US" sz="1800" dirty="0"/>
              <a:t>Design and execute an experiment</a:t>
            </a:r>
            <a:endParaRPr lang="en-US" sz="2000" dirty="0"/>
          </a:p>
        </p:txBody>
      </p:sp>
      <p:sp>
        <p:nvSpPr>
          <p:cNvPr id="15" name="Retângulo 14">
            <a:extLst>
              <a:ext uri="{FF2B5EF4-FFF2-40B4-BE49-F238E27FC236}">
                <a16:creationId xmlns:a16="http://schemas.microsoft.com/office/drawing/2014/main" id="{D1F8F319-ECB8-A6C6-0609-991DA7D28619}"/>
              </a:ext>
            </a:extLst>
          </p:cNvPr>
          <p:cNvSpPr/>
          <p:nvPr/>
        </p:nvSpPr>
        <p:spPr>
          <a:xfrm>
            <a:off x="6781799" y="792001"/>
            <a:ext cx="2610187" cy="935028"/>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952891"/>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952891"/>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pic>
        <p:nvPicPr>
          <p:cNvPr id="29" name="Imagem 28">
            <a:extLst>
              <a:ext uri="{FF2B5EF4-FFF2-40B4-BE49-F238E27FC236}">
                <a16:creationId xmlns:a16="http://schemas.microsoft.com/office/drawing/2014/main" id="{9810B028-9950-DC8F-4700-E434EA2AF968}"/>
              </a:ext>
            </a:extLst>
          </p:cNvPr>
          <p:cNvPicPr>
            <a:picLocks noChangeAspect="1"/>
          </p:cNvPicPr>
          <p:nvPr/>
        </p:nvPicPr>
        <p:blipFill>
          <a:blip r:embed="rId3"/>
          <a:stretch>
            <a:fillRect/>
          </a:stretch>
        </p:blipFill>
        <p:spPr>
          <a:xfrm>
            <a:off x="1246674" y="914529"/>
            <a:ext cx="679418" cy="679418"/>
          </a:xfrm>
          <a:prstGeom prst="rect">
            <a:avLst/>
          </a:prstGeom>
        </p:spPr>
      </p:pic>
      <p:grpSp>
        <p:nvGrpSpPr>
          <p:cNvPr id="7" name="Agrupar 6">
            <a:extLst>
              <a:ext uri="{FF2B5EF4-FFF2-40B4-BE49-F238E27FC236}">
                <a16:creationId xmlns:a16="http://schemas.microsoft.com/office/drawing/2014/main" id="{F59682C7-FC73-C324-3907-A637014C9BC7}"/>
              </a:ext>
            </a:extLst>
          </p:cNvPr>
          <p:cNvGrpSpPr/>
          <p:nvPr/>
        </p:nvGrpSpPr>
        <p:grpSpPr>
          <a:xfrm>
            <a:off x="3876519" y="919805"/>
            <a:ext cx="1973897" cy="679418"/>
            <a:chOff x="3804557" y="869517"/>
            <a:chExt cx="1973897" cy="679418"/>
          </a:xfrm>
        </p:grpSpPr>
        <p:pic>
          <p:nvPicPr>
            <p:cNvPr id="32" name="Imagem 31">
              <a:extLst>
                <a:ext uri="{FF2B5EF4-FFF2-40B4-BE49-F238E27FC236}">
                  <a16:creationId xmlns:a16="http://schemas.microsoft.com/office/drawing/2014/main" id="{6C0269C2-D716-0970-F5ED-34AB05E4A58E}"/>
                </a:ext>
              </a:extLst>
            </p:cNvPr>
            <p:cNvPicPr>
              <a:picLocks noChangeAspect="1"/>
            </p:cNvPicPr>
            <p:nvPr/>
          </p:nvPicPr>
          <p:blipFill>
            <a:blip r:embed="rId4"/>
            <a:stretch>
              <a:fillRect/>
            </a:stretch>
          </p:blipFill>
          <p:spPr>
            <a:xfrm>
              <a:off x="4480567" y="869517"/>
              <a:ext cx="679418" cy="679418"/>
            </a:xfrm>
            <a:prstGeom prst="rect">
              <a:avLst/>
            </a:prstGeom>
          </p:spPr>
        </p:pic>
        <p:pic>
          <p:nvPicPr>
            <p:cNvPr id="33" name="Imagem 32">
              <a:extLst>
                <a:ext uri="{FF2B5EF4-FFF2-40B4-BE49-F238E27FC236}">
                  <a16:creationId xmlns:a16="http://schemas.microsoft.com/office/drawing/2014/main" id="{E80B29F0-DCF8-633C-FCB8-A7A67ABAF0AB}"/>
                </a:ext>
              </a:extLst>
            </p:cNvPr>
            <p:cNvPicPr>
              <a:picLocks noChangeAspect="1"/>
            </p:cNvPicPr>
            <p:nvPr/>
          </p:nvPicPr>
          <p:blipFill>
            <a:blip r:embed="rId5"/>
            <a:stretch>
              <a:fillRect/>
            </a:stretch>
          </p:blipFill>
          <p:spPr>
            <a:xfrm>
              <a:off x="5099036" y="869517"/>
              <a:ext cx="679418" cy="679418"/>
            </a:xfrm>
            <a:prstGeom prst="rect">
              <a:avLst/>
            </a:prstGeom>
          </p:spPr>
        </p:pic>
        <p:pic>
          <p:nvPicPr>
            <p:cNvPr id="34" name="Imagem 33">
              <a:extLst>
                <a:ext uri="{FF2B5EF4-FFF2-40B4-BE49-F238E27FC236}">
                  <a16:creationId xmlns:a16="http://schemas.microsoft.com/office/drawing/2014/main" id="{6C918A4B-9763-5094-8AFF-81820E32DEC5}"/>
                </a:ext>
              </a:extLst>
            </p:cNvPr>
            <p:cNvPicPr>
              <a:picLocks noChangeAspect="1"/>
            </p:cNvPicPr>
            <p:nvPr/>
          </p:nvPicPr>
          <p:blipFill>
            <a:blip r:embed="rId6"/>
            <a:stretch>
              <a:fillRect/>
            </a:stretch>
          </p:blipFill>
          <p:spPr>
            <a:xfrm>
              <a:off x="3804557" y="869517"/>
              <a:ext cx="679418" cy="679418"/>
            </a:xfrm>
            <a:prstGeom prst="rect">
              <a:avLst/>
            </a:prstGeom>
          </p:spPr>
        </p:pic>
      </p:grpSp>
      <p:grpSp>
        <p:nvGrpSpPr>
          <p:cNvPr id="6" name="Agrupar 5">
            <a:extLst>
              <a:ext uri="{FF2B5EF4-FFF2-40B4-BE49-F238E27FC236}">
                <a16:creationId xmlns:a16="http://schemas.microsoft.com/office/drawing/2014/main" id="{FA16ACD5-2CBC-DC44-777E-0539A9A9B5C8}"/>
              </a:ext>
            </a:extLst>
          </p:cNvPr>
          <p:cNvGrpSpPr/>
          <p:nvPr/>
        </p:nvGrpSpPr>
        <p:grpSpPr>
          <a:xfrm>
            <a:off x="6937618" y="916725"/>
            <a:ext cx="2298549" cy="685580"/>
            <a:chOff x="6908560" y="891802"/>
            <a:chExt cx="2298549" cy="685580"/>
          </a:xfrm>
        </p:grpSpPr>
        <p:pic>
          <p:nvPicPr>
            <p:cNvPr id="37" name="Imagem 36">
              <a:extLst>
                <a:ext uri="{FF2B5EF4-FFF2-40B4-BE49-F238E27FC236}">
                  <a16:creationId xmlns:a16="http://schemas.microsoft.com/office/drawing/2014/main" id="{2FAB4F7E-F17E-321D-CEDA-DC13AB8C303C}"/>
                </a:ext>
              </a:extLst>
            </p:cNvPr>
            <p:cNvPicPr>
              <a:picLocks noChangeAspect="1"/>
            </p:cNvPicPr>
            <p:nvPr/>
          </p:nvPicPr>
          <p:blipFill>
            <a:blip r:embed="rId7"/>
            <a:stretch>
              <a:fillRect/>
            </a:stretch>
          </p:blipFill>
          <p:spPr>
            <a:xfrm>
              <a:off x="7718125" y="897964"/>
              <a:ext cx="679418" cy="679418"/>
            </a:xfrm>
            <a:prstGeom prst="rect">
              <a:avLst/>
            </a:prstGeom>
          </p:spPr>
        </p:pic>
        <p:pic>
          <p:nvPicPr>
            <p:cNvPr id="38" name="Imagem 37">
              <a:extLst>
                <a:ext uri="{FF2B5EF4-FFF2-40B4-BE49-F238E27FC236}">
                  <a16:creationId xmlns:a16="http://schemas.microsoft.com/office/drawing/2014/main" id="{79337422-822B-4092-8EF1-FFDD3FDF930A}"/>
                </a:ext>
              </a:extLst>
            </p:cNvPr>
            <p:cNvPicPr>
              <a:picLocks noChangeAspect="1"/>
            </p:cNvPicPr>
            <p:nvPr/>
          </p:nvPicPr>
          <p:blipFill>
            <a:blip r:embed="rId8"/>
            <a:stretch>
              <a:fillRect/>
            </a:stretch>
          </p:blipFill>
          <p:spPr>
            <a:xfrm>
              <a:off x="6908560" y="897964"/>
              <a:ext cx="679418" cy="679418"/>
            </a:xfrm>
            <a:prstGeom prst="rect">
              <a:avLst/>
            </a:prstGeom>
          </p:spPr>
        </p:pic>
        <p:pic>
          <p:nvPicPr>
            <p:cNvPr id="39" name="Imagem 38">
              <a:extLst>
                <a:ext uri="{FF2B5EF4-FFF2-40B4-BE49-F238E27FC236}">
                  <a16:creationId xmlns:a16="http://schemas.microsoft.com/office/drawing/2014/main" id="{323FBB86-ACB5-598B-A1FA-C43A2CB496A8}"/>
                </a:ext>
              </a:extLst>
            </p:cNvPr>
            <p:cNvPicPr>
              <a:picLocks noChangeAspect="1"/>
            </p:cNvPicPr>
            <p:nvPr/>
          </p:nvPicPr>
          <p:blipFill>
            <a:blip r:embed="rId9"/>
            <a:stretch>
              <a:fillRect/>
            </a:stretch>
          </p:blipFill>
          <p:spPr>
            <a:xfrm>
              <a:off x="8527691" y="891802"/>
              <a:ext cx="679418" cy="679418"/>
            </a:xfrm>
            <a:prstGeom prst="rect">
              <a:avLst/>
            </a:prstGeom>
          </p:spPr>
        </p:pic>
      </p:grpSp>
    </p:spTree>
    <p:extLst>
      <p:ext uri="{BB962C8B-B14F-4D97-AF65-F5344CB8AC3E}">
        <p14:creationId xmlns:p14="http://schemas.microsoft.com/office/powerpoint/2010/main" val="2724207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5" name="Retângulo 24">
            <a:extLst>
              <a:ext uri="{FF2B5EF4-FFF2-40B4-BE49-F238E27FC236}">
                <a16:creationId xmlns:a16="http://schemas.microsoft.com/office/drawing/2014/main" id="{AE473716-58C4-B184-CEDC-1CB4DA32BE78}"/>
              </a:ext>
            </a:extLst>
          </p:cNvPr>
          <p:cNvSpPr/>
          <p:nvPr/>
        </p:nvSpPr>
        <p:spPr>
          <a:xfrm>
            <a:off x="1957426" y="792000"/>
            <a:ext cx="5757824" cy="522666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Objectives and Approach: </a:t>
            </a:r>
            <a:r>
              <a:rPr lang="en-US" b="0" i="1" dirty="0"/>
              <a:t>Approach</a:t>
            </a:r>
          </a:p>
        </p:txBody>
      </p:sp>
      <p:pic>
        <p:nvPicPr>
          <p:cNvPr id="12" name="Imagem 11">
            <a:extLst>
              <a:ext uri="{FF2B5EF4-FFF2-40B4-BE49-F238E27FC236}">
                <a16:creationId xmlns:a16="http://schemas.microsoft.com/office/drawing/2014/main" id="{BC968360-A69C-9C10-BEAC-AD640100DEA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079624" y="884188"/>
            <a:ext cx="5540376" cy="5042288"/>
          </a:xfrm>
          <a:prstGeom prst="rect">
            <a:avLst/>
          </a:prstGeom>
        </p:spPr>
      </p:pic>
    </p:spTree>
    <p:extLst>
      <p:ext uri="{BB962C8B-B14F-4D97-AF65-F5344CB8AC3E}">
        <p14:creationId xmlns:p14="http://schemas.microsoft.com/office/powerpoint/2010/main" val="2905983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35" name="Agrupar 34">
            <a:extLst>
              <a:ext uri="{FF2B5EF4-FFF2-40B4-BE49-F238E27FC236}">
                <a16:creationId xmlns:a16="http://schemas.microsoft.com/office/drawing/2014/main" id="{DFD774DE-6542-D866-A89E-455BCE0868F2}"/>
              </a:ext>
            </a:extLst>
          </p:cNvPr>
          <p:cNvGrpSpPr/>
          <p:nvPr/>
        </p:nvGrpSpPr>
        <p:grpSpPr>
          <a:xfrm>
            <a:off x="348421" y="791999"/>
            <a:ext cx="9043199" cy="1626736"/>
            <a:chOff x="348421" y="791999"/>
            <a:chExt cx="9043199" cy="1626736"/>
          </a:xfrm>
        </p:grpSpPr>
        <p:sp>
          <p:nvSpPr>
            <p:cNvPr id="37" name="Retângulo 36">
              <a:extLst>
                <a:ext uri="{FF2B5EF4-FFF2-40B4-BE49-F238E27FC236}">
                  <a16:creationId xmlns:a16="http://schemas.microsoft.com/office/drawing/2014/main" id="{40C3D8B9-506D-AE33-E2D3-BF3D0A578FB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38" name="Imagem 37">
              <a:extLst>
                <a:ext uri="{FF2B5EF4-FFF2-40B4-BE49-F238E27FC236}">
                  <a16:creationId xmlns:a16="http://schemas.microsoft.com/office/drawing/2014/main" id="{A4909F3D-B69E-1C37-F822-3A477DA5EEB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94045" y="927951"/>
              <a:ext cx="7711536" cy="1360486"/>
            </a:xfrm>
            <a:prstGeom prst="rect">
              <a:avLst/>
            </a:prstGeom>
          </p:spPr>
        </p:pic>
        <p:sp>
          <p:nvSpPr>
            <p:cNvPr id="39" name="Retângulo 38">
              <a:extLst>
                <a:ext uri="{FF2B5EF4-FFF2-40B4-BE49-F238E27FC236}">
                  <a16:creationId xmlns:a16="http://schemas.microsoft.com/office/drawing/2014/main" id="{31B4C104-B26D-4704-A747-0C0C51CA1222}"/>
                </a:ext>
              </a:extLst>
            </p:cNvPr>
            <p:cNvSpPr/>
            <p:nvPr/>
          </p:nvSpPr>
          <p:spPr>
            <a:xfrm>
              <a:off x="348421" y="791999"/>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40" name="Imagem 39">
              <a:extLst>
                <a:ext uri="{FF2B5EF4-FFF2-40B4-BE49-F238E27FC236}">
                  <a16:creationId xmlns:a16="http://schemas.microsoft.com/office/drawing/2014/main" id="{1590A943-5C2E-6FE7-4A7A-EECC07E774E6}"/>
                </a:ext>
              </a:extLst>
            </p:cNvPr>
            <p:cNvPicPr>
              <a:picLocks noChangeAspect="1"/>
            </p:cNvPicPr>
            <p:nvPr/>
          </p:nvPicPr>
          <p:blipFill rotWithShape="1">
            <a:blip r:embed="rId3">
              <a:clrChange>
                <a:clrFrom>
                  <a:srgbClr val="FFFFFF"/>
                </a:clrFrom>
                <a:clrTo>
                  <a:srgbClr val="FFFFFF">
                    <a:alpha val="0"/>
                  </a:srgbClr>
                </a:clrTo>
              </a:clrChange>
            </a:blip>
            <a:srcRect r="80159"/>
            <a:stretch/>
          </p:blipFill>
          <p:spPr>
            <a:xfrm>
              <a:off x="994045" y="925124"/>
              <a:ext cx="1530080" cy="1360486"/>
            </a:xfrm>
            <a:prstGeom prst="rect">
              <a:avLst/>
            </a:prstGeom>
          </p:spPr>
        </p:pic>
      </p:grpSp>
      <p:sp>
        <p:nvSpPr>
          <p:cNvPr id="31" name="Retângulo 30">
            <a:extLst>
              <a:ext uri="{FF2B5EF4-FFF2-40B4-BE49-F238E27FC236}">
                <a16:creationId xmlns:a16="http://schemas.microsoft.com/office/drawing/2014/main" id="{108FC2AA-8082-1CF1-1D32-5DB2AED56D1E}"/>
              </a:ext>
            </a:extLst>
          </p:cNvPr>
          <p:cNvSpPr/>
          <p:nvPr/>
        </p:nvSpPr>
        <p:spPr>
          <a:xfrm>
            <a:off x="4863288" y="2369070"/>
            <a:ext cx="4514862"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5" name="Retângulo 24">
            <a:extLst>
              <a:ext uri="{FF2B5EF4-FFF2-40B4-BE49-F238E27FC236}">
                <a16:creationId xmlns:a16="http://schemas.microsoft.com/office/drawing/2014/main" id="{AE473716-58C4-B184-CEDC-1CB4DA32BE78}"/>
              </a:ext>
            </a:extLst>
          </p:cNvPr>
          <p:cNvSpPr/>
          <p:nvPr/>
        </p:nvSpPr>
        <p:spPr>
          <a:xfrm>
            <a:off x="334949" y="2369070"/>
            <a:ext cx="4541811"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pic>
        <p:nvPicPr>
          <p:cNvPr id="10" name="Imagem 9">
            <a:extLst>
              <a:ext uri="{FF2B5EF4-FFF2-40B4-BE49-F238E27FC236}">
                <a16:creationId xmlns:a16="http://schemas.microsoft.com/office/drawing/2014/main" id="{A4614808-315E-22D5-19C5-75D603A9CE32}"/>
              </a:ext>
            </a:extLst>
          </p:cNvPr>
          <p:cNvPicPr>
            <a:picLocks noChangeAspect="1"/>
          </p:cNvPicPr>
          <p:nvPr/>
        </p:nvPicPr>
        <p:blipFill rotWithShape="1">
          <a:blip r:embed="rId4"/>
          <a:srcRect l="9879" t="14317" r="7159" b="13717"/>
          <a:stretch/>
        </p:blipFill>
        <p:spPr>
          <a:xfrm>
            <a:off x="971406" y="3609319"/>
            <a:ext cx="1231020" cy="1067841"/>
          </a:xfrm>
          <a:prstGeom prst="rect">
            <a:avLst/>
          </a:prstGeom>
        </p:spPr>
      </p:pic>
      <p:grpSp>
        <p:nvGrpSpPr>
          <p:cNvPr id="33" name="Agrupar 32">
            <a:extLst>
              <a:ext uri="{FF2B5EF4-FFF2-40B4-BE49-F238E27FC236}">
                <a16:creationId xmlns:a16="http://schemas.microsoft.com/office/drawing/2014/main" id="{C59F791B-B2B2-A10D-B685-EF0D1568B48E}"/>
              </a:ext>
            </a:extLst>
          </p:cNvPr>
          <p:cNvGrpSpPr/>
          <p:nvPr/>
        </p:nvGrpSpPr>
        <p:grpSpPr>
          <a:xfrm>
            <a:off x="1863939" y="1984319"/>
            <a:ext cx="1483832" cy="1271390"/>
            <a:chOff x="1863939" y="2157610"/>
            <a:chExt cx="1483832" cy="1271390"/>
          </a:xfrm>
        </p:grpSpPr>
        <p:sp>
          <p:nvSpPr>
            <p:cNvPr id="15" name="Retângulo 14">
              <a:extLst>
                <a:ext uri="{FF2B5EF4-FFF2-40B4-BE49-F238E27FC236}">
                  <a16:creationId xmlns:a16="http://schemas.microsoft.com/office/drawing/2014/main" id="{CA1FDFE9-1890-A4E2-0D18-B2C7D5086945}"/>
                </a:ext>
              </a:extLst>
            </p:cNvPr>
            <p:cNvSpPr/>
            <p:nvPr/>
          </p:nvSpPr>
          <p:spPr>
            <a:xfrm>
              <a:off x="1863939" y="2157610"/>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4" name="Imagem 3">
              <a:extLst>
                <a:ext uri="{FF2B5EF4-FFF2-40B4-BE49-F238E27FC236}">
                  <a16:creationId xmlns:a16="http://schemas.microsoft.com/office/drawing/2014/main" id="{7D84F4F6-9995-1BDE-1196-79C69E7A5D87}"/>
                </a:ext>
              </a:extLst>
            </p:cNvPr>
            <p:cNvPicPr>
              <a:picLocks noChangeAspect="1"/>
            </p:cNvPicPr>
            <p:nvPr/>
          </p:nvPicPr>
          <p:blipFill>
            <a:blip r:embed="rId5"/>
            <a:stretch>
              <a:fillRect/>
            </a:stretch>
          </p:blipFill>
          <p:spPr>
            <a:xfrm>
              <a:off x="1970160" y="2157610"/>
              <a:ext cx="1271390" cy="1271390"/>
            </a:xfrm>
            <a:prstGeom prst="rect">
              <a:avLst/>
            </a:prstGeom>
          </p:spPr>
        </p:pic>
      </p:grpSp>
      <p:pic>
        <p:nvPicPr>
          <p:cNvPr id="14" name="Imagem 13">
            <a:extLst>
              <a:ext uri="{FF2B5EF4-FFF2-40B4-BE49-F238E27FC236}">
                <a16:creationId xmlns:a16="http://schemas.microsoft.com/office/drawing/2014/main" id="{13EAA610-16C7-4080-9058-ED99DF58EE69}"/>
              </a:ext>
            </a:extLst>
          </p:cNvPr>
          <p:cNvPicPr>
            <a:picLocks noChangeAspect="1"/>
          </p:cNvPicPr>
          <p:nvPr/>
        </p:nvPicPr>
        <p:blipFill>
          <a:blip r:embed="rId6"/>
          <a:stretch>
            <a:fillRect/>
          </a:stretch>
        </p:blipFill>
        <p:spPr>
          <a:xfrm>
            <a:off x="3002538" y="3609319"/>
            <a:ext cx="1067841" cy="1067841"/>
          </a:xfrm>
          <a:prstGeom prst="rect">
            <a:avLst/>
          </a:prstGeom>
        </p:spPr>
      </p:pic>
      <p:pic>
        <p:nvPicPr>
          <p:cNvPr id="21" name="Imagem 20">
            <a:extLst>
              <a:ext uri="{FF2B5EF4-FFF2-40B4-BE49-F238E27FC236}">
                <a16:creationId xmlns:a16="http://schemas.microsoft.com/office/drawing/2014/main" id="{44A1A9CD-18C2-D274-5DA0-FFFB043A4332}"/>
              </a:ext>
            </a:extLst>
          </p:cNvPr>
          <p:cNvPicPr>
            <a:picLocks noChangeAspect="1"/>
          </p:cNvPicPr>
          <p:nvPr/>
        </p:nvPicPr>
        <p:blipFill>
          <a:blip r:embed="rId7"/>
          <a:stretch>
            <a:fillRect/>
          </a:stretch>
        </p:blipFill>
        <p:spPr>
          <a:xfrm>
            <a:off x="3689930" y="4719470"/>
            <a:ext cx="760897" cy="780698"/>
          </a:xfrm>
          <a:prstGeom prst="rect">
            <a:avLst/>
          </a:prstGeom>
        </p:spPr>
      </p:pic>
      <p:pic>
        <p:nvPicPr>
          <p:cNvPr id="23" name="Imagem 22">
            <a:extLst>
              <a:ext uri="{FF2B5EF4-FFF2-40B4-BE49-F238E27FC236}">
                <a16:creationId xmlns:a16="http://schemas.microsoft.com/office/drawing/2014/main" id="{1529B494-7228-3EE5-4614-8A393051D0CF}"/>
              </a:ext>
            </a:extLst>
          </p:cNvPr>
          <p:cNvPicPr>
            <a:picLocks noChangeAspect="1"/>
          </p:cNvPicPr>
          <p:nvPr/>
        </p:nvPicPr>
        <p:blipFill>
          <a:blip r:embed="rId8"/>
          <a:stretch>
            <a:fillRect/>
          </a:stretch>
        </p:blipFill>
        <p:spPr>
          <a:xfrm>
            <a:off x="2617503" y="4866795"/>
            <a:ext cx="557628" cy="557628"/>
          </a:xfrm>
          <a:prstGeom prst="rect">
            <a:avLst/>
          </a:prstGeom>
        </p:spPr>
      </p:pic>
      <p:grpSp>
        <p:nvGrpSpPr>
          <p:cNvPr id="32" name="Agrupar 31">
            <a:extLst>
              <a:ext uri="{FF2B5EF4-FFF2-40B4-BE49-F238E27FC236}">
                <a16:creationId xmlns:a16="http://schemas.microsoft.com/office/drawing/2014/main" id="{F7184F0D-4A70-83B3-E28A-13999E4E8350}"/>
              </a:ext>
            </a:extLst>
          </p:cNvPr>
          <p:cNvGrpSpPr/>
          <p:nvPr/>
        </p:nvGrpSpPr>
        <p:grpSpPr>
          <a:xfrm>
            <a:off x="6378803" y="1984319"/>
            <a:ext cx="1483832" cy="1271390"/>
            <a:chOff x="6378803" y="2157610"/>
            <a:chExt cx="1483832" cy="1271390"/>
          </a:xfrm>
        </p:grpSpPr>
        <p:sp>
          <p:nvSpPr>
            <p:cNvPr id="28" name="Retângulo 27">
              <a:extLst>
                <a:ext uri="{FF2B5EF4-FFF2-40B4-BE49-F238E27FC236}">
                  <a16:creationId xmlns:a16="http://schemas.microsoft.com/office/drawing/2014/main" id="{9910DAFF-18AF-1EB4-78D4-93D1C0172F99}"/>
                </a:ext>
              </a:extLst>
            </p:cNvPr>
            <p:cNvSpPr/>
            <p:nvPr/>
          </p:nvSpPr>
          <p:spPr>
            <a:xfrm>
              <a:off x="6378803" y="2157610"/>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26" name="Imagem 25">
              <a:extLst>
                <a:ext uri="{FF2B5EF4-FFF2-40B4-BE49-F238E27FC236}">
                  <a16:creationId xmlns:a16="http://schemas.microsoft.com/office/drawing/2014/main" id="{81273651-6C53-268D-67C1-F63A03EFB928}"/>
                </a:ext>
              </a:extLst>
            </p:cNvPr>
            <p:cNvPicPr>
              <a:picLocks noChangeAspect="1"/>
            </p:cNvPicPr>
            <p:nvPr/>
          </p:nvPicPr>
          <p:blipFill>
            <a:blip r:embed="rId9"/>
            <a:stretch>
              <a:fillRect/>
            </a:stretch>
          </p:blipFill>
          <p:spPr>
            <a:xfrm>
              <a:off x="6498498" y="2171085"/>
              <a:ext cx="1244441" cy="1244441"/>
            </a:xfrm>
            <a:prstGeom prst="rect">
              <a:avLst/>
            </a:prstGeom>
          </p:spPr>
        </p:pic>
      </p:grpSp>
      <p:grpSp>
        <p:nvGrpSpPr>
          <p:cNvPr id="55" name="Agrupar 54">
            <a:extLst>
              <a:ext uri="{FF2B5EF4-FFF2-40B4-BE49-F238E27FC236}">
                <a16:creationId xmlns:a16="http://schemas.microsoft.com/office/drawing/2014/main" id="{1A295F9E-D940-7FD3-4FB0-7943627CD28D}"/>
              </a:ext>
            </a:extLst>
          </p:cNvPr>
          <p:cNvGrpSpPr/>
          <p:nvPr/>
        </p:nvGrpSpPr>
        <p:grpSpPr>
          <a:xfrm>
            <a:off x="5876308" y="3339169"/>
            <a:ext cx="2614548" cy="2461820"/>
            <a:chOff x="5721377" y="3193288"/>
            <a:chExt cx="2924409" cy="2753582"/>
          </a:xfrm>
        </p:grpSpPr>
        <p:grpSp>
          <p:nvGrpSpPr>
            <p:cNvPr id="54" name="Agrupar 53">
              <a:extLst>
                <a:ext uri="{FF2B5EF4-FFF2-40B4-BE49-F238E27FC236}">
                  <a16:creationId xmlns:a16="http://schemas.microsoft.com/office/drawing/2014/main" id="{FD63F863-D111-82B2-9D00-279682AC7A81}"/>
                </a:ext>
              </a:extLst>
            </p:cNvPr>
            <p:cNvGrpSpPr/>
            <p:nvPr/>
          </p:nvGrpSpPr>
          <p:grpSpPr>
            <a:xfrm>
              <a:off x="5721377" y="3193288"/>
              <a:ext cx="2924409" cy="2753582"/>
              <a:chOff x="2289400" y="988141"/>
              <a:chExt cx="5134298" cy="4834382"/>
            </a:xfrm>
          </p:grpSpPr>
          <p:sp>
            <p:nvSpPr>
              <p:cNvPr id="47" name="Freeform 18">
                <a:extLst>
                  <a:ext uri="{FF2B5EF4-FFF2-40B4-BE49-F238E27FC236}">
                    <a16:creationId xmlns:a16="http://schemas.microsoft.com/office/drawing/2014/main" id="{E1B524D9-7018-8184-7D2B-C06FF3C4858C}"/>
                  </a:ext>
                </a:extLst>
              </p:cNvPr>
              <p:cNvSpPr/>
              <p:nvPr/>
            </p:nvSpPr>
            <p:spPr>
              <a:xfrm>
                <a:off x="3329722" y="988141"/>
                <a:ext cx="3053655" cy="2192197"/>
              </a:xfrm>
              <a:custGeom>
                <a:avLst/>
                <a:gdLst>
                  <a:gd name="connsiteX0" fmla="*/ 1440000 w 2880000"/>
                  <a:gd name="connsiteY0" fmla="*/ 0 h 2067531"/>
                  <a:gd name="connsiteX1" fmla="*/ 2880000 w 2880000"/>
                  <a:gd name="connsiteY1" fmla="*/ 1440000 h 2067531"/>
                  <a:gd name="connsiteX2" fmla="*/ 2850744 w 2880000"/>
                  <a:gd name="connsiteY2" fmla="*/ 1730210 h 2067531"/>
                  <a:gd name="connsiteX3" fmla="*/ 2847285 w 2880000"/>
                  <a:gd name="connsiteY3" fmla="*/ 1743664 h 2067531"/>
                  <a:gd name="connsiteX4" fmla="*/ 2711369 w 2880000"/>
                  <a:gd name="connsiteY4" fmla="*/ 1708716 h 2067531"/>
                  <a:gd name="connsiteX5" fmla="*/ 2421159 w 2880000"/>
                  <a:gd name="connsiteY5" fmla="*/ 1679460 h 2067531"/>
                  <a:gd name="connsiteX6" fmla="*/ 1505185 w 2880000"/>
                  <a:gd name="connsiteY6" fmla="*/ 2008286 h 2067531"/>
                  <a:gd name="connsiteX7" fmla="*/ 1439999 w 2880000"/>
                  <a:gd name="connsiteY7" fmla="*/ 2067531 h 2067531"/>
                  <a:gd name="connsiteX8" fmla="*/ 1374813 w 2880000"/>
                  <a:gd name="connsiteY8" fmla="*/ 2008286 h 2067531"/>
                  <a:gd name="connsiteX9" fmla="*/ 458839 w 2880000"/>
                  <a:gd name="connsiteY9" fmla="*/ 1679460 h 2067531"/>
                  <a:gd name="connsiteX10" fmla="*/ 168629 w 2880000"/>
                  <a:gd name="connsiteY10" fmla="*/ 1708716 h 2067531"/>
                  <a:gd name="connsiteX11" fmla="*/ 32715 w 2880000"/>
                  <a:gd name="connsiteY11" fmla="*/ 1743663 h 2067531"/>
                  <a:gd name="connsiteX12" fmla="*/ 29256 w 2880000"/>
                  <a:gd name="connsiteY12" fmla="*/ 1730210 h 2067531"/>
                  <a:gd name="connsiteX13" fmla="*/ 0 w 2880000"/>
                  <a:gd name="connsiteY13" fmla="*/ 1440000 h 2067531"/>
                  <a:gd name="connsiteX14" fmla="*/ 1440000 w 2880000"/>
                  <a:gd name="connsiteY14" fmla="*/ 0 h 206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80000" h="2067531">
                    <a:moveTo>
                      <a:pt x="1440000" y="0"/>
                    </a:moveTo>
                    <a:cubicBezTo>
                      <a:pt x="2235290" y="0"/>
                      <a:pt x="2880000" y="644710"/>
                      <a:pt x="2880000" y="1440000"/>
                    </a:cubicBezTo>
                    <a:cubicBezTo>
                      <a:pt x="2880000" y="1539411"/>
                      <a:pt x="2869927" y="1636470"/>
                      <a:pt x="2850744" y="1730210"/>
                    </a:cubicBezTo>
                    <a:lnTo>
                      <a:pt x="2847285" y="1743664"/>
                    </a:lnTo>
                    <a:lnTo>
                      <a:pt x="2711369" y="1708716"/>
                    </a:lnTo>
                    <a:cubicBezTo>
                      <a:pt x="2617629" y="1689534"/>
                      <a:pt x="2520570" y="1679460"/>
                      <a:pt x="2421159" y="1679460"/>
                    </a:cubicBezTo>
                    <a:cubicBezTo>
                      <a:pt x="2073220" y="1679460"/>
                      <a:pt x="1754102" y="1802862"/>
                      <a:pt x="1505185" y="2008286"/>
                    </a:cubicBezTo>
                    <a:lnTo>
                      <a:pt x="1439999" y="2067531"/>
                    </a:lnTo>
                    <a:lnTo>
                      <a:pt x="1374813" y="2008286"/>
                    </a:lnTo>
                    <a:cubicBezTo>
                      <a:pt x="1125896" y="1802862"/>
                      <a:pt x="806778" y="1679460"/>
                      <a:pt x="458839" y="1679460"/>
                    </a:cubicBezTo>
                    <a:cubicBezTo>
                      <a:pt x="359428" y="1679460"/>
                      <a:pt x="262369" y="1689534"/>
                      <a:pt x="168629" y="1708716"/>
                    </a:cubicBezTo>
                    <a:lnTo>
                      <a:pt x="32715" y="1743663"/>
                    </a:lnTo>
                    <a:lnTo>
                      <a:pt x="29256" y="1730210"/>
                    </a:lnTo>
                    <a:cubicBezTo>
                      <a:pt x="10073" y="1636470"/>
                      <a:pt x="0" y="1539411"/>
                      <a:pt x="0" y="1440000"/>
                    </a:cubicBezTo>
                    <a:cubicBezTo>
                      <a:pt x="0" y="644710"/>
                      <a:pt x="644710" y="0"/>
                      <a:pt x="1440000" y="0"/>
                    </a:cubicBezTo>
                    <a:close/>
                  </a:path>
                </a:pathLst>
              </a:custGeom>
              <a:solidFill>
                <a:srgbClr val="FFFFFF">
                  <a:lumMod val="100000"/>
                </a:srgbClr>
              </a:solidFill>
              <a:ln w="9525">
                <a:solidFill>
                  <a:srgbClr val="555555">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48" name="Freeform 17">
                <a:extLst>
                  <a:ext uri="{FF2B5EF4-FFF2-40B4-BE49-F238E27FC236}">
                    <a16:creationId xmlns:a16="http://schemas.microsoft.com/office/drawing/2014/main" id="{05E2222A-8080-4BC5-745A-51A31F29C850}"/>
                  </a:ext>
                </a:extLst>
              </p:cNvPr>
              <p:cNvSpPr/>
              <p:nvPr/>
            </p:nvSpPr>
            <p:spPr>
              <a:xfrm>
                <a:off x="2289400" y="2836942"/>
                <a:ext cx="2567149" cy="2985581"/>
              </a:xfrm>
              <a:custGeom>
                <a:avLst/>
                <a:gdLst>
                  <a:gd name="connsiteX0" fmla="*/ 1013876 w 2421160"/>
                  <a:gd name="connsiteY0" fmla="*/ 0 h 2815797"/>
                  <a:gd name="connsiteX1" fmla="*/ 1045901 w 2421160"/>
                  <a:gd name="connsiteY1" fmla="*/ 124549 h 2815797"/>
                  <a:gd name="connsiteX2" fmla="*/ 1992949 w 2421160"/>
                  <a:gd name="connsiteY2" fmla="*/ 1071597 h 2815797"/>
                  <a:gd name="connsiteX3" fmla="*/ 1995035 w 2421160"/>
                  <a:gd name="connsiteY3" fmla="*/ 1072134 h 2815797"/>
                  <a:gd name="connsiteX4" fmla="*/ 1991576 w 2421160"/>
                  <a:gd name="connsiteY4" fmla="*/ 1085587 h 2815797"/>
                  <a:gd name="connsiteX5" fmla="*/ 1962320 w 2421160"/>
                  <a:gd name="connsiteY5" fmla="*/ 1375797 h 2815797"/>
                  <a:gd name="connsiteX6" fmla="*/ 2384086 w 2421160"/>
                  <a:gd name="connsiteY6" fmla="*/ 2394031 h 2815797"/>
                  <a:gd name="connsiteX7" fmla="*/ 2421160 w 2421160"/>
                  <a:gd name="connsiteY7" fmla="*/ 2427726 h 2815797"/>
                  <a:gd name="connsiteX8" fmla="*/ 2355974 w 2421160"/>
                  <a:gd name="connsiteY8" fmla="*/ 2486971 h 2815797"/>
                  <a:gd name="connsiteX9" fmla="*/ 1440000 w 2421160"/>
                  <a:gd name="connsiteY9" fmla="*/ 2815797 h 2815797"/>
                  <a:gd name="connsiteX10" fmla="*/ 0 w 2421160"/>
                  <a:gd name="connsiteY10" fmla="*/ 1375797 h 2815797"/>
                  <a:gd name="connsiteX11" fmla="*/ 1011788 w 2421160"/>
                  <a:gd name="connsiteY11" fmla="*/ 537 h 2815797"/>
                  <a:gd name="connsiteX12" fmla="*/ 1013876 w 2421160"/>
                  <a:gd name="connsiteY12" fmla="*/ 0 h 281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160" h="2815797">
                    <a:moveTo>
                      <a:pt x="1013876" y="0"/>
                    </a:moveTo>
                    <a:lnTo>
                      <a:pt x="1045901" y="124549"/>
                    </a:lnTo>
                    <a:cubicBezTo>
                      <a:pt x="1186147" y="575456"/>
                      <a:pt x="1542042" y="931351"/>
                      <a:pt x="1992949" y="1071597"/>
                    </a:cubicBezTo>
                    <a:lnTo>
                      <a:pt x="1995035" y="1072134"/>
                    </a:lnTo>
                    <a:lnTo>
                      <a:pt x="1991576" y="1085587"/>
                    </a:lnTo>
                    <a:cubicBezTo>
                      <a:pt x="1972394" y="1179328"/>
                      <a:pt x="1962320" y="1276386"/>
                      <a:pt x="1962320" y="1375797"/>
                    </a:cubicBezTo>
                    <a:cubicBezTo>
                      <a:pt x="1962320" y="1773442"/>
                      <a:pt x="2123498" y="2133442"/>
                      <a:pt x="2384086" y="2394031"/>
                    </a:cubicBezTo>
                    <a:lnTo>
                      <a:pt x="2421160" y="2427726"/>
                    </a:lnTo>
                    <a:lnTo>
                      <a:pt x="2355974" y="2486971"/>
                    </a:lnTo>
                    <a:cubicBezTo>
                      <a:pt x="2107057" y="2692396"/>
                      <a:pt x="1787939" y="2815797"/>
                      <a:pt x="1440000" y="2815797"/>
                    </a:cubicBezTo>
                    <a:cubicBezTo>
                      <a:pt x="644710" y="2815797"/>
                      <a:pt x="0" y="2171087"/>
                      <a:pt x="0" y="1375797"/>
                    </a:cubicBezTo>
                    <a:cubicBezTo>
                      <a:pt x="0" y="729624"/>
                      <a:pt x="425609" y="182857"/>
                      <a:pt x="1011788" y="537"/>
                    </a:cubicBezTo>
                    <a:lnTo>
                      <a:pt x="1013876" y="0"/>
                    </a:lnTo>
                    <a:close/>
                  </a:path>
                </a:pathLst>
              </a:custGeom>
              <a:solidFill>
                <a:srgbClr val="FFFFFF">
                  <a:lumMod val="100000"/>
                </a:srgbClr>
              </a:solidFill>
              <a:ln w="9525">
                <a:solidFill>
                  <a:srgbClr val="555555">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49" name="Freeform 16">
                <a:extLst>
                  <a:ext uri="{FF2B5EF4-FFF2-40B4-BE49-F238E27FC236}">
                    <a16:creationId xmlns:a16="http://schemas.microsoft.com/office/drawing/2014/main" id="{ABB119B7-05AA-F556-328D-F49C334FDE51}"/>
                  </a:ext>
                </a:extLst>
              </p:cNvPr>
              <p:cNvSpPr/>
              <p:nvPr/>
            </p:nvSpPr>
            <p:spPr>
              <a:xfrm>
                <a:off x="4856549" y="2836942"/>
                <a:ext cx="2567149" cy="2985581"/>
              </a:xfrm>
              <a:custGeom>
                <a:avLst/>
                <a:gdLst>
                  <a:gd name="connsiteX0" fmla="*/ 1407286 w 2421160"/>
                  <a:gd name="connsiteY0" fmla="*/ 0 h 2815796"/>
                  <a:gd name="connsiteX1" fmla="*/ 1409372 w 2421160"/>
                  <a:gd name="connsiteY1" fmla="*/ 536 h 2815796"/>
                  <a:gd name="connsiteX2" fmla="*/ 2421160 w 2421160"/>
                  <a:gd name="connsiteY2" fmla="*/ 1375796 h 2815796"/>
                  <a:gd name="connsiteX3" fmla="*/ 981160 w 2421160"/>
                  <a:gd name="connsiteY3" fmla="*/ 2815796 h 2815796"/>
                  <a:gd name="connsiteX4" fmla="*/ 65186 w 2421160"/>
                  <a:gd name="connsiteY4" fmla="*/ 2486970 h 2815796"/>
                  <a:gd name="connsiteX5" fmla="*/ 0 w 2421160"/>
                  <a:gd name="connsiteY5" fmla="*/ 2427725 h 2815796"/>
                  <a:gd name="connsiteX6" fmla="*/ 37074 w 2421160"/>
                  <a:gd name="connsiteY6" fmla="*/ 2394030 h 2815796"/>
                  <a:gd name="connsiteX7" fmla="*/ 458840 w 2421160"/>
                  <a:gd name="connsiteY7" fmla="*/ 1375796 h 2815796"/>
                  <a:gd name="connsiteX8" fmla="*/ 429584 w 2421160"/>
                  <a:gd name="connsiteY8" fmla="*/ 1085586 h 2815796"/>
                  <a:gd name="connsiteX9" fmla="*/ 426125 w 2421160"/>
                  <a:gd name="connsiteY9" fmla="*/ 1072133 h 2815796"/>
                  <a:gd name="connsiteX10" fmla="*/ 428213 w 2421160"/>
                  <a:gd name="connsiteY10" fmla="*/ 1071596 h 2815796"/>
                  <a:gd name="connsiteX11" fmla="*/ 1375261 w 2421160"/>
                  <a:gd name="connsiteY11" fmla="*/ 124548 h 2815796"/>
                  <a:gd name="connsiteX12" fmla="*/ 1407286 w 2421160"/>
                  <a:gd name="connsiteY12" fmla="*/ 0 h 281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160" h="2815796">
                    <a:moveTo>
                      <a:pt x="1407286" y="0"/>
                    </a:moveTo>
                    <a:lnTo>
                      <a:pt x="1409372" y="536"/>
                    </a:lnTo>
                    <a:cubicBezTo>
                      <a:pt x="1995551" y="182856"/>
                      <a:pt x="2421160" y="729623"/>
                      <a:pt x="2421160" y="1375796"/>
                    </a:cubicBezTo>
                    <a:cubicBezTo>
                      <a:pt x="2421160" y="2171086"/>
                      <a:pt x="1776450" y="2815796"/>
                      <a:pt x="981160" y="2815796"/>
                    </a:cubicBezTo>
                    <a:cubicBezTo>
                      <a:pt x="633221" y="2815796"/>
                      <a:pt x="314103" y="2692395"/>
                      <a:pt x="65186" y="2486970"/>
                    </a:cubicBezTo>
                    <a:lnTo>
                      <a:pt x="0" y="2427725"/>
                    </a:lnTo>
                    <a:lnTo>
                      <a:pt x="37074" y="2394030"/>
                    </a:lnTo>
                    <a:cubicBezTo>
                      <a:pt x="297663" y="2133441"/>
                      <a:pt x="458840" y="1773441"/>
                      <a:pt x="458840" y="1375796"/>
                    </a:cubicBezTo>
                    <a:cubicBezTo>
                      <a:pt x="458840" y="1276385"/>
                      <a:pt x="448767" y="1179327"/>
                      <a:pt x="429584" y="1085586"/>
                    </a:cubicBezTo>
                    <a:lnTo>
                      <a:pt x="426125" y="1072133"/>
                    </a:lnTo>
                    <a:lnTo>
                      <a:pt x="428213" y="1071596"/>
                    </a:lnTo>
                    <a:cubicBezTo>
                      <a:pt x="879120" y="931350"/>
                      <a:pt x="1235015" y="575455"/>
                      <a:pt x="1375261" y="124548"/>
                    </a:cubicBezTo>
                    <a:lnTo>
                      <a:pt x="1407286" y="0"/>
                    </a:lnTo>
                    <a:close/>
                  </a:path>
                </a:pathLst>
              </a:custGeom>
              <a:solidFill>
                <a:srgbClr val="FFFFFF">
                  <a:lumMod val="100000"/>
                </a:srgbClr>
              </a:solidFill>
              <a:ln w="9525">
                <a:solidFill>
                  <a:srgbClr val="555555">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50" name="Freeform 22">
                <a:extLst>
                  <a:ext uri="{FF2B5EF4-FFF2-40B4-BE49-F238E27FC236}">
                    <a16:creationId xmlns:a16="http://schemas.microsoft.com/office/drawing/2014/main" id="{851AF2C3-4749-D072-6B61-925273FA03F9}"/>
                  </a:ext>
                </a:extLst>
              </p:cNvPr>
              <p:cNvSpPr/>
              <p:nvPr/>
            </p:nvSpPr>
            <p:spPr>
              <a:xfrm>
                <a:off x="3364411" y="2768868"/>
                <a:ext cx="1492139" cy="1204855"/>
              </a:xfrm>
              <a:custGeom>
                <a:avLst/>
                <a:gdLst>
                  <a:gd name="connsiteX0" fmla="*/ 426124 w 1407284"/>
                  <a:gd name="connsiteY0" fmla="*/ 0 h 1136337"/>
                  <a:gd name="connsiteX1" fmla="*/ 1342098 w 1407284"/>
                  <a:gd name="connsiteY1" fmla="*/ 328826 h 1136337"/>
                  <a:gd name="connsiteX2" fmla="*/ 1407284 w 1407284"/>
                  <a:gd name="connsiteY2" fmla="*/ 388071 h 1136337"/>
                  <a:gd name="connsiteX3" fmla="*/ 1370210 w 1407284"/>
                  <a:gd name="connsiteY3" fmla="*/ 421766 h 1136337"/>
                  <a:gd name="connsiteX4" fmla="*/ 1013184 w 1407284"/>
                  <a:gd name="connsiteY4" fmla="*/ 1011788 h 1136337"/>
                  <a:gd name="connsiteX5" fmla="*/ 981159 w 1407284"/>
                  <a:gd name="connsiteY5" fmla="*/ 1136337 h 1136337"/>
                  <a:gd name="connsiteX6" fmla="*/ 979073 w 1407284"/>
                  <a:gd name="connsiteY6" fmla="*/ 1135800 h 1136337"/>
                  <a:gd name="connsiteX7" fmla="*/ 32025 w 1407284"/>
                  <a:gd name="connsiteY7" fmla="*/ 188752 h 1136337"/>
                  <a:gd name="connsiteX8" fmla="*/ 0 w 1407284"/>
                  <a:gd name="connsiteY8" fmla="*/ 64203 h 1136337"/>
                  <a:gd name="connsiteX9" fmla="*/ 135914 w 1407284"/>
                  <a:gd name="connsiteY9" fmla="*/ 29256 h 1136337"/>
                  <a:gd name="connsiteX10" fmla="*/ 426124 w 1407284"/>
                  <a:gd name="connsiteY10" fmla="*/ 0 h 113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7284" h="1136337">
                    <a:moveTo>
                      <a:pt x="426124" y="0"/>
                    </a:moveTo>
                    <a:cubicBezTo>
                      <a:pt x="774063" y="0"/>
                      <a:pt x="1093181" y="123402"/>
                      <a:pt x="1342098" y="328826"/>
                    </a:cubicBezTo>
                    <a:lnTo>
                      <a:pt x="1407284" y="388071"/>
                    </a:lnTo>
                    <a:lnTo>
                      <a:pt x="1370210" y="421766"/>
                    </a:lnTo>
                    <a:cubicBezTo>
                      <a:pt x="1207343" y="584634"/>
                      <a:pt x="1083307" y="786335"/>
                      <a:pt x="1013184" y="1011788"/>
                    </a:cubicBezTo>
                    <a:lnTo>
                      <a:pt x="981159" y="1136337"/>
                    </a:lnTo>
                    <a:lnTo>
                      <a:pt x="979073" y="1135800"/>
                    </a:lnTo>
                    <a:cubicBezTo>
                      <a:pt x="528166" y="995554"/>
                      <a:pt x="172271" y="639659"/>
                      <a:pt x="32025" y="188752"/>
                    </a:cubicBezTo>
                    <a:lnTo>
                      <a:pt x="0" y="64203"/>
                    </a:lnTo>
                    <a:lnTo>
                      <a:pt x="135914" y="29256"/>
                    </a:lnTo>
                    <a:cubicBezTo>
                      <a:pt x="229654" y="10074"/>
                      <a:pt x="326713" y="0"/>
                      <a:pt x="426124" y="0"/>
                    </a:cubicBezTo>
                    <a:close/>
                  </a:path>
                </a:pathLst>
              </a:custGeom>
              <a:solidFill>
                <a:srgbClr val="555555">
                  <a:lumMod val="100000"/>
                </a:srgbClr>
              </a:solidFill>
              <a:ln w="9525">
                <a:solidFill>
                  <a:srgbClr val="555555">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51" name="Freeform 20">
                <a:extLst>
                  <a:ext uri="{FF2B5EF4-FFF2-40B4-BE49-F238E27FC236}">
                    <a16:creationId xmlns:a16="http://schemas.microsoft.com/office/drawing/2014/main" id="{7F3B03A3-7EA7-A19A-CF5C-3C284B8273BE}"/>
                  </a:ext>
                </a:extLst>
              </p:cNvPr>
              <p:cNvSpPr/>
              <p:nvPr/>
            </p:nvSpPr>
            <p:spPr>
              <a:xfrm>
                <a:off x="4856550" y="2768868"/>
                <a:ext cx="1492141" cy="1204855"/>
              </a:xfrm>
              <a:custGeom>
                <a:avLst/>
                <a:gdLst>
                  <a:gd name="connsiteX0" fmla="*/ 981160 w 1407286"/>
                  <a:gd name="connsiteY0" fmla="*/ 0 h 1136337"/>
                  <a:gd name="connsiteX1" fmla="*/ 1271370 w 1407286"/>
                  <a:gd name="connsiteY1" fmla="*/ 29256 h 1136337"/>
                  <a:gd name="connsiteX2" fmla="*/ 1407286 w 1407286"/>
                  <a:gd name="connsiteY2" fmla="*/ 64204 h 1136337"/>
                  <a:gd name="connsiteX3" fmla="*/ 1375261 w 1407286"/>
                  <a:gd name="connsiteY3" fmla="*/ 188752 h 1136337"/>
                  <a:gd name="connsiteX4" fmla="*/ 428213 w 1407286"/>
                  <a:gd name="connsiteY4" fmla="*/ 1135800 h 1136337"/>
                  <a:gd name="connsiteX5" fmla="*/ 426125 w 1407286"/>
                  <a:gd name="connsiteY5" fmla="*/ 1136337 h 1136337"/>
                  <a:gd name="connsiteX6" fmla="*/ 394100 w 1407286"/>
                  <a:gd name="connsiteY6" fmla="*/ 1011788 h 1136337"/>
                  <a:gd name="connsiteX7" fmla="*/ 37074 w 1407286"/>
                  <a:gd name="connsiteY7" fmla="*/ 421766 h 1136337"/>
                  <a:gd name="connsiteX8" fmla="*/ 0 w 1407286"/>
                  <a:gd name="connsiteY8" fmla="*/ 388071 h 1136337"/>
                  <a:gd name="connsiteX9" fmla="*/ 65186 w 1407286"/>
                  <a:gd name="connsiteY9" fmla="*/ 328826 h 1136337"/>
                  <a:gd name="connsiteX10" fmla="*/ 981160 w 1407286"/>
                  <a:gd name="connsiteY10" fmla="*/ 0 h 113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7286" h="1136337">
                    <a:moveTo>
                      <a:pt x="981160" y="0"/>
                    </a:moveTo>
                    <a:cubicBezTo>
                      <a:pt x="1080571" y="0"/>
                      <a:pt x="1177630" y="10074"/>
                      <a:pt x="1271370" y="29256"/>
                    </a:cubicBezTo>
                    <a:lnTo>
                      <a:pt x="1407286" y="64204"/>
                    </a:lnTo>
                    <a:lnTo>
                      <a:pt x="1375261" y="188752"/>
                    </a:lnTo>
                    <a:cubicBezTo>
                      <a:pt x="1235015" y="639659"/>
                      <a:pt x="879120" y="995554"/>
                      <a:pt x="428213" y="1135800"/>
                    </a:cubicBezTo>
                    <a:lnTo>
                      <a:pt x="426125" y="1136337"/>
                    </a:lnTo>
                    <a:lnTo>
                      <a:pt x="394100" y="1011788"/>
                    </a:lnTo>
                    <a:cubicBezTo>
                      <a:pt x="323977" y="786335"/>
                      <a:pt x="199942" y="584634"/>
                      <a:pt x="37074" y="421766"/>
                    </a:cubicBezTo>
                    <a:lnTo>
                      <a:pt x="0" y="388071"/>
                    </a:lnTo>
                    <a:lnTo>
                      <a:pt x="65186" y="328826"/>
                    </a:lnTo>
                    <a:cubicBezTo>
                      <a:pt x="314103" y="123402"/>
                      <a:pt x="633221" y="0"/>
                      <a:pt x="981160" y="0"/>
                    </a:cubicBezTo>
                    <a:close/>
                  </a:path>
                </a:pathLst>
              </a:custGeom>
              <a:solidFill>
                <a:srgbClr val="555555">
                  <a:lumMod val="100000"/>
                </a:srgbClr>
              </a:solidFill>
              <a:ln w="9525">
                <a:solidFill>
                  <a:srgbClr val="555555">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52" name="Freeform 19">
                <a:extLst>
                  <a:ext uri="{FF2B5EF4-FFF2-40B4-BE49-F238E27FC236}">
                    <a16:creationId xmlns:a16="http://schemas.microsoft.com/office/drawing/2014/main" id="{429917DA-BBEB-33CF-824A-2E6463B5734C}"/>
                  </a:ext>
                </a:extLst>
              </p:cNvPr>
              <p:cNvSpPr/>
              <p:nvPr/>
            </p:nvSpPr>
            <p:spPr>
              <a:xfrm>
                <a:off x="4370042" y="3973723"/>
                <a:ext cx="973013" cy="1437330"/>
              </a:xfrm>
              <a:custGeom>
                <a:avLst/>
                <a:gdLst>
                  <a:gd name="connsiteX0" fmla="*/ 32715 w 917680"/>
                  <a:gd name="connsiteY0" fmla="*/ 0 h 1355592"/>
                  <a:gd name="connsiteX1" fmla="*/ 168631 w 917680"/>
                  <a:gd name="connsiteY1" fmla="*/ 34947 h 1355592"/>
                  <a:gd name="connsiteX2" fmla="*/ 458841 w 917680"/>
                  <a:gd name="connsiteY2" fmla="*/ 64203 h 1355592"/>
                  <a:gd name="connsiteX3" fmla="*/ 749051 w 917680"/>
                  <a:gd name="connsiteY3" fmla="*/ 34947 h 1355592"/>
                  <a:gd name="connsiteX4" fmla="*/ 884965 w 917680"/>
                  <a:gd name="connsiteY4" fmla="*/ 0 h 1355592"/>
                  <a:gd name="connsiteX5" fmla="*/ 888424 w 917680"/>
                  <a:gd name="connsiteY5" fmla="*/ 13453 h 1355592"/>
                  <a:gd name="connsiteX6" fmla="*/ 917680 w 917680"/>
                  <a:gd name="connsiteY6" fmla="*/ 303663 h 1355592"/>
                  <a:gd name="connsiteX7" fmla="*/ 495914 w 917680"/>
                  <a:gd name="connsiteY7" fmla="*/ 1321897 h 1355592"/>
                  <a:gd name="connsiteX8" fmla="*/ 458840 w 917680"/>
                  <a:gd name="connsiteY8" fmla="*/ 1355592 h 1355592"/>
                  <a:gd name="connsiteX9" fmla="*/ 421766 w 917680"/>
                  <a:gd name="connsiteY9" fmla="*/ 1321897 h 1355592"/>
                  <a:gd name="connsiteX10" fmla="*/ 0 w 917680"/>
                  <a:gd name="connsiteY10" fmla="*/ 303663 h 1355592"/>
                  <a:gd name="connsiteX11" fmla="*/ 29256 w 917680"/>
                  <a:gd name="connsiteY11" fmla="*/ 13453 h 1355592"/>
                  <a:gd name="connsiteX12" fmla="*/ 32715 w 917680"/>
                  <a:gd name="connsiteY12" fmla="*/ 0 h 135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80" h="1355592">
                    <a:moveTo>
                      <a:pt x="32715" y="0"/>
                    </a:moveTo>
                    <a:lnTo>
                      <a:pt x="168631" y="34947"/>
                    </a:lnTo>
                    <a:cubicBezTo>
                      <a:pt x="262372" y="54130"/>
                      <a:pt x="359430" y="64203"/>
                      <a:pt x="458841" y="64203"/>
                    </a:cubicBezTo>
                    <a:cubicBezTo>
                      <a:pt x="558252" y="64203"/>
                      <a:pt x="655311" y="54130"/>
                      <a:pt x="749051" y="34947"/>
                    </a:cubicBezTo>
                    <a:lnTo>
                      <a:pt x="884965" y="0"/>
                    </a:lnTo>
                    <a:lnTo>
                      <a:pt x="888424" y="13453"/>
                    </a:lnTo>
                    <a:cubicBezTo>
                      <a:pt x="907607" y="107194"/>
                      <a:pt x="917680" y="204252"/>
                      <a:pt x="917680" y="303663"/>
                    </a:cubicBezTo>
                    <a:cubicBezTo>
                      <a:pt x="917680" y="701308"/>
                      <a:pt x="756503" y="1061308"/>
                      <a:pt x="495914" y="1321897"/>
                    </a:cubicBezTo>
                    <a:lnTo>
                      <a:pt x="458840" y="1355592"/>
                    </a:lnTo>
                    <a:lnTo>
                      <a:pt x="421766" y="1321897"/>
                    </a:lnTo>
                    <a:cubicBezTo>
                      <a:pt x="161178" y="1061308"/>
                      <a:pt x="0" y="701308"/>
                      <a:pt x="0" y="303663"/>
                    </a:cubicBezTo>
                    <a:cubicBezTo>
                      <a:pt x="0" y="204252"/>
                      <a:pt x="10074" y="107194"/>
                      <a:pt x="29256" y="13453"/>
                    </a:cubicBezTo>
                    <a:lnTo>
                      <a:pt x="32715" y="0"/>
                    </a:lnTo>
                    <a:close/>
                  </a:path>
                </a:pathLst>
              </a:custGeom>
              <a:solidFill>
                <a:srgbClr val="555555">
                  <a:lumMod val="100000"/>
                </a:srgbClr>
              </a:solidFill>
              <a:ln w="9525">
                <a:solidFill>
                  <a:srgbClr val="555555">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53" name="Freeform 15">
                <a:extLst>
                  <a:ext uri="{FF2B5EF4-FFF2-40B4-BE49-F238E27FC236}">
                    <a16:creationId xmlns:a16="http://schemas.microsoft.com/office/drawing/2014/main" id="{D214BAC3-9B47-CF5A-5F0B-248FD5D3C79D}"/>
                  </a:ext>
                </a:extLst>
              </p:cNvPr>
              <p:cNvSpPr/>
              <p:nvPr/>
            </p:nvSpPr>
            <p:spPr>
              <a:xfrm>
                <a:off x="4404731" y="3180338"/>
                <a:ext cx="903638" cy="861458"/>
              </a:xfrm>
              <a:custGeom>
                <a:avLst/>
                <a:gdLst>
                  <a:gd name="connsiteX0" fmla="*/ 426125 w 852250"/>
                  <a:gd name="connsiteY0" fmla="*/ 0 h 812469"/>
                  <a:gd name="connsiteX1" fmla="*/ 463199 w 852250"/>
                  <a:gd name="connsiteY1" fmla="*/ 33695 h 812469"/>
                  <a:gd name="connsiteX2" fmla="*/ 820225 w 852250"/>
                  <a:gd name="connsiteY2" fmla="*/ 623717 h 812469"/>
                  <a:gd name="connsiteX3" fmla="*/ 852250 w 852250"/>
                  <a:gd name="connsiteY3" fmla="*/ 748266 h 812469"/>
                  <a:gd name="connsiteX4" fmla="*/ 716336 w 852250"/>
                  <a:gd name="connsiteY4" fmla="*/ 783213 h 812469"/>
                  <a:gd name="connsiteX5" fmla="*/ 426126 w 852250"/>
                  <a:gd name="connsiteY5" fmla="*/ 812469 h 812469"/>
                  <a:gd name="connsiteX6" fmla="*/ 135916 w 852250"/>
                  <a:gd name="connsiteY6" fmla="*/ 783213 h 812469"/>
                  <a:gd name="connsiteX7" fmla="*/ 0 w 852250"/>
                  <a:gd name="connsiteY7" fmla="*/ 748266 h 812469"/>
                  <a:gd name="connsiteX8" fmla="*/ 32025 w 852250"/>
                  <a:gd name="connsiteY8" fmla="*/ 623717 h 812469"/>
                  <a:gd name="connsiteX9" fmla="*/ 389051 w 852250"/>
                  <a:gd name="connsiteY9" fmla="*/ 33695 h 812469"/>
                  <a:gd name="connsiteX10" fmla="*/ 426125 w 852250"/>
                  <a:gd name="connsiteY10" fmla="*/ 0 h 8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2250" h="812469">
                    <a:moveTo>
                      <a:pt x="426125" y="0"/>
                    </a:moveTo>
                    <a:lnTo>
                      <a:pt x="463199" y="33695"/>
                    </a:lnTo>
                    <a:cubicBezTo>
                      <a:pt x="626067" y="196563"/>
                      <a:pt x="750102" y="398264"/>
                      <a:pt x="820225" y="623717"/>
                    </a:cubicBezTo>
                    <a:lnTo>
                      <a:pt x="852250" y="748266"/>
                    </a:lnTo>
                    <a:lnTo>
                      <a:pt x="716336" y="783213"/>
                    </a:lnTo>
                    <a:cubicBezTo>
                      <a:pt x="622596" y="802396"/>
                      <a:pt x="525537" y="812469"/>
                      <a:pt x="426126" y="812469"/>
                    </a:cubicBezTo>
                    <a:cubicBezTo>
                      <a:pt x="326715" y="812469"/>
                      <a:pt x="229657" y="802396"/>
                      <a:pt x="135916" y="783213"/>
                    </a:cubicBezTo>
                    <a:lnTo>
                      <a:pt x="0" y="748266"/>
                    </a:lnTo>
                    <a:lnTo>
                      <a:pt x="32025" y="623717"/>
                    </a:lnTo>
                    <a:cubicBezTo>
                      <a:pt x="102148" y="398264"/>
                      <a:pt x="226184" y="196563"/>
                      <a:pt x="389051" y="33695"/>
                    </a:cubicBezTo>
                    <a:lnTo>
                      <a:pt x="426125" y="0"/>
                    </a:lnTo>
                    <a:close/>
                  </a:path>
                </a:pathLst>
              </a:custGeom>
              <a:solidFill>
                <a:srgbClr val="FFFFFF">
                  <a:lumMod val="100000"/>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grpSp>
        <p:pic>
          <p:nvPicPr>
            <p:cNvPr id="36" name="Picture 8" descr="Tactile Contact Lenses for Blind Person - Solution-Lens.com">
              <a:extLst>
                <a:ext uri="{FF2B5EF4-FFF2-40B4-BE49-F238E27FC236}">
                  <a16:creationId xmlns:a16="http://schemas.microsoft.com/office/drawing/2014/main" id="{94DCFF39-F8DC-E23C-5FA0-175AF194470A}"/>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30765" y="3259699"/>
              <a:ext cx="1012174" cy="1026632"/>
            </a:xfrm>
            <a:prstGeom prst="rect">
              <a:avLst/>
            </a:prstGeom>
            <a:noFill/>
            <a:extLst>
              <a:ext uri="{909E8E84-426E-40DD-AFC4-6F175D3DCCD1}">
                <a14:hiddenFill xmlns:a14="http://schemas.microsoft.com/office/drawing/2010/main">
                  <a:solidFill>
                    <a:srgbClr val="FFFFFF"/>
                  </a:solidFill>
                </a14:hiddenFill>
              </a:ext>
            </a:extLst>
          </p:spPr>
        </p:pic>
        <p:pic>
          <p:nvPicPr>
            <p:cNvPr id="45" name="Imagem 44">
              <a:extLst>
                <a:ext uri="{FF2B5EF4-FFF2-40B4-BE49-F238E27FC236}">
                  <a16:creationId xmlns:a16="http://schemas.microsoft.com/office/drawing/2014/main" id="{BB17F862-99CE-6D7E-5A0E-2DD9E1A1923F}"/>
                </a:ext>
              </a:extLst>
            </p:cNvPr>
            <p:cNvPicPr>
              <a:picLocks noChangeAspect="1"/>
            </p:cNvPicPr>
            <p:nvPr/>
          </p:nvPicPr>
          <p:blipFill rotWithShape="1">
            <a:blip r:embed="rId4"/>
            <a:srcRect l="9879" t="14317" r="7159" b="13717"/>
            <a:stretch/>
          </p:blipFill>
          <p:spPr>
            <a:xfrm>
              <a:off x="5926650" y="4866795"/>
              <a:ext cx="931254" cy="807811"/>
            </a:xfrm>
            <a:prstGeom prst="rect">
              <a:avLst/>
            </a:prstGeom>
          </p:spPr>
        </p:pic>
        <p:pic>
          <p:nvPicPr>
            <p:cNvPr id="46" name="Imagem 45">
              <a:extLst>
                <a:ext uri="{FF2B5EF4-FFF2-40B4-BE49-F238E27FC236}">
                  <a16:creationId xmlns:a16="http://schemas.microsoft.com/office/drawing/2014/main" id="{1454AE89-E9D2-161A-99B9-A38EC84FFCEF}"/>
                </a:ext>
              </a:extLst>
            </p:cNvPr>
            <p:cNvPicPr>
              <a:picLocks noChangeAspect="1"/>
            </p:cNvPicPr>
            <p:nvPr/>
          </p:nvPicPr>
          <p:blipFill>
            <a:blip r:embed="rId6"/>
            <a:stretch>
              <a:fillRect/>
            </a:stretch>
          </p:blipFill>
          <p:spPr>
            <a:xfrm>
              <a:off x="7631397" y="4862622"/>
              <a:ext cx="807811" cy="807811"/>
            </a:xfrm>
            <a:prstGeom prst="rect">
              <a:avLst/>
            </a:prstGeom>
          </p:spPr>
        </p:pic>
      </p:grpSp>
      <p:sp>
        <p:nvSpPr>
          <p:cNvPr id="34" name="Retângulo 33">
            <a:extLst>
              <a:ext uri="{FF2B5EF4-FFF2-40B4-BE49-F238E27FC236}">
                <a16:creationId xmlns:a16="http://schemas.microsoft.com/office/drawing/2014/main" id="{5B9AEE4D-60DA-266C-33E8-D2645C666C1A}"/>
              </a:ext>
            </a:extLst>
          </p:cNvPr>
          <p:cNvSpPr/>
          <p:nvPr/>
        </p:nvSpPr>
        <p:spPr>
          <a:xfrm>
            <a:off x="4890232" y="1879744"/>
            <a:ext cx="4655790" cy="4273406"/>
          </a:xfrm>
          <a:custGeom>
            <a:avLst/>
            <a:gdLst>
              <a:gd name="connsiteX0" fmla="*/ 0 w 4655790"/>
              <a:gd name="connsiteY0" fmla="*/ 0 h 4273406"/>
              <a:gd name="connsiteX1" fmla="*/ 4655790 w 4655790"/>
              <a:gd name="connsiteY1" fmla="*/ 0 h 4273406"/>
              <a:gd name="connsiteX2" fmla="*/ 4655790 w 4655790"/>
              <a:gd name="connsiteY2" fmla="*/ 4273406 h 4273406"/>
              <a:gd name="connsiteX3" fmla="*/ 0 w 4655790"/>
              <a:gd name="connsiteY3" fmla="*/ 4273406 h 4273406"/>
              <a:gd name="connsiteX4" fmla="*/ 0 w 4655790"/>
              <a:gd name="connsiteY4" fmla="*/ 0 h 4273406"/>
              <a:gd name="connsiteX0" fmla="*/ 9525 w 4655790"/>
              <a:gd name="connsiteY0" fmla="*/ 457200 h 4273406"/>
              <a:gd name="connsiteX1" fmla="*/ 4655790 w 4655790"/>
              <a:gd name="connsiteY1" fmla="*/ 0 h 4273406"/>
              <a:gd name="connsiteX2" fmla="*/ 4655790 w 4655790"/>
              <a:gd name="connsiteY2" fmla="*/ 4273406 h 4273406"/>
              <a:gd name="connsiteX3" fmla="*/ 0 w 4655790"/>
              <a:gd name="connsiteY3" fmla="*/ 4273406 h 4273406"/>
              <a:gd name="connsiteX4" fmla="*/ 9525 w 4655790"/>
              <a:gd name="connsiteY4" fmla="*/ 457200 h 4273406"/>
              <a:gd name="connsiteX0" fmla="*/ 9525 w 4655790"/>
              <a:gd name="connsiteY0" fmla="*/ 457200 h 4273406"/>
              <a:gd name="connsiteX1" fmla="*/ 834293 w 4655790"/>
              <a:gd name="connsiteY1" fmla="*/ 463406 h 4273406"/>
              <a:gd name="connsiteX2" fmla="*/ 4655790 w 4655790"/>
              <a:gd name="connsiteY2" fmla="*/ 0 h 4273406"/>
              <a:gd name="connsiteX3" fmla="*/ 4655790 w 4655790"/>
              <a:gd name="connsiteY3" fmla="*/ 4273406 h 4273406"/>
              <a:gd name="connsiteX4" fmla="*/ 0 w 4655790"/>
              <a:gd name="connsiteY4" fmla="*/ 4273406 h 4273406"/>
              <a:gd name="connsiteX5" fmla="*/ 9525 w 4655790"/>
              <a:gd name="connsiteY5"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43818 w 4655790"/>
              <a:gd name="connsiteY2" fmla="*/ 15731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5790" h="4273406">
                <a:moveTo>
                  <a:pt x="9525" y="457200"/>
                </a:moveTo>
                <a:lnTo>
                  <a:pt x="834293" y="463406"/>
                </a:lnTo>
                <a:lnTo>
                  <a:pt x="843818" y="15731"/>
                </a:lnTo>
                <a:lnTo>
                  <a:pt x="4655790" y="0"/>
                </a:lnTo>
                <a:lnTo>
                  <a:pt x="4655790" y="4273406"/>
                </a:lnTo>
                <a:lnTo>
                  <a:pt x="0" y="4273406"/>
                </a:lnTo>
                <a:lnTo>
                  <a:pt x="9525" y="457200"/>
                </a:lnTo>
                <a:close/>
              </a:path>
            </a:pathLst>
          </a:cu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Tree>
    <p:extLst>
      <p:ext uri="{BB962C8B-B14F-4D97-AF65-F5344CB8AC3E}">
        <p14:creationId xmlns:p14="http://schemas.microsoft.com/office/powerpoint/2010/main" val="29917796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38" name="Agrupar 37">
            <a:extLst>
              <a:ext uri="{FF2B5EF4-FFF2-40B4-BE49-F238E27FC236}">
                <a16:creationId xmlns:a16="http://schemas.microsoft.com/office/drawing/2014/main" id="{644E5BFD-2187-0115-6C0D-3EF61897EEFB}"/>
              </a:ext>
            </a:extLst>
          </p:cNvPr>
          <p:cNvGrpSpPr/>
          <p:nvPr/>
        </p:nvGrpSpPr>
        <p:grpSpPr>
          <a:xfrm>
            <a:off x="348421" y="791999"/>
            <a:ext cx="9043199" cy="1626736"/>
            <a:chOff x="348421" y="791999"/>
            <a:chExt cx="9043199" cy="1626736"/>
          </a:xfrm>
        </p:grpSpPr>
        <p:sp>
          <p:nvSpPr>
            <p:cNvPr id="39" name="Retângulo 38">
              <a:extLst>
                <a:ext uri="{FF2B5EF4-FFF2-40B4-BE49-F238E27FC236}">
                  <a16:creationId xmlns:a16="http://schemas.microsoft.com/office/drawing/2014/main" id="{E711E076-689F-8835-E8C1-37E76021BEB6}"/>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40" name="Imagem 39">
              <a:extLst>
                <a:ext uri="{FF2B5EF4-FFF2-40B4-BE49-F238E27FC236}">
                  <a16:creationId xmlns:a16="http://schemas.microsoft.com/office/drawing/2014/main" id="{A2FBCAB9-6E1C-58C8-F344-D9065BBDCF2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94045" y="927951"/>
              <a:ext cx="7711536" cy="1360486"/>
            </a:xfrm>
            <a:prstGeom prst="rect">
              <a:avLst/>
            </a:prstGeom>
          </p:spPr>
        </p:pic>
        <p:sp>
          <p:nvSpPr>
            <p:cNvPr id="41" name="Retângulo 40">
              <a:extLst>
                <a:ext uri="{FF2B5EF4-FFF2-40B4-BE49-F238E27FC236}">
                  <a16:creationId xmlns:a16="http://schemas.microsoft.com/office/drawing/2014/main" id="{A4929DE5-03F0-A4A5-F6AA-17E3B87AA356}"/>
                </a:ext>
              </a:extLst>
            </p:cNvPr>
            <p:cNvSpPr/>
            <p:nvPr/>
          </p:nvSpPr>
          <p:spPr>
            <a:xfrm>
              <a:off x="348421" y="791999"/>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42" name="Imagem 41">
              <a:extLst>
                <a:ext uri="{FF2B5EF4-FFF2-40B4-BE49-F238E27FC236}">
                  <a16:creationId xmlns:a16="http://schemas.microsoft.com/office/drawing/2014/main" id="{42F03F6C-92BD-FFB6-98B7-2B8B3CAEFBF9}"/>
                </a:ext>
              </a:extLst>
            </p:cNvPr>
            <p:cNvPicPr>
              <a:picLocks noChangeAspect="1"/>
            </p:cNvPicPr>
            <p:nvPr/>
          </p:nvPicPr>
          <p:blipFill rotWithShape="1">
            <a:blip r:embed="rId3">
              <a:clrChange>
                <a:clrFrom>
                  <a:srgbClr val="FFFFFF"/>
                </a:clrFrom>
                <a:clrTo>
                  <a:srgbClr val="FFFFFF">
                    <a:alpha val="0"/>
                  </a:srgbClr>
                </a:clrTo>
              </a:clrChange>
            </a:blip>
            <a:srcRect r="80159"/>
            <a:stretch/>
          </p:blipFill>
          <p:spPr>
            <a:xfrm>
              <a:off x="994045" y="925124"/>
              <a:ext cx="1530080" cy="1360486"/>
            </a:xfrm>
            <a:prstGeom prst="rect">
              <a:avLst/>
            </a:prstGeom>
          </p:spPr>
        </p:pic>
      </p:grpSp>
      <p:sp>
        <p:nvSpPr>
          <p:cNvPr id="31" name="Retângulo 30">
            <a:extLst>
              <a:ext uri="{FF2B5EF4-FFF2-40B4-BE49-F238E27FC236}">
                <a16:creationId xmlns:a16="http://schemas.microsoft.com/office/drawing/2014/main" id="{108FC2AA-8082-1CF1-1D32-5DB2AED56D1E}"/>
              </a:ext>
            </a:extLst>
          </p:cNvPr>
          <p:cNvSpPr/>
          <p:nvPr/>
        </p:nvSpPr>
        <p:spPr>
          <a:xfrm>
            <a:off x="4863288" y="2369070"/>
            <a:ext cx="4514862"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5" name="Retângulo 24">
            <a:extLst>
              <a:ext uri="{FF2B5EF4-FFF2-40B4-BE49-F238E27FC236}">
                <a16:creationId xmlns:a16="http://schemas.microsoft.com/office/drawing/2014/main" id="{AE473716-58C4-B184-CEDC-1CB4DA32BE78}"/>
              </a:ext>
            </a:extLst>
          </p:cNvPr>
          <p:cNvSpPr/>
          <p:nvPr/>
        </p:nvSpPr>
        <p:spPr>
          <a:xfrm>
            <a:off x="334949" y="2369070"/>
            <a:ext cx="4541811"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pic>
        <p:nvPicPr>
          <p:cNvPr id="10" name="Imagem 9">
            <a:extLst>
              <a:ext uri="{FF2B5EF4-FFF2-40B4-BE49-F238E27FC236}">
                <a16:creationId xmlns:a16="http://schemas.microsoft.com/office/drawing/2014/main" id="{A4614808-315E-22D5-19C5-75D603A9CE32}"/>
              </a:ext>
            </a:extLst>
          </p:cNvPr>
          <p:cNvPicPr>
            <a:picLocks noChangeAspect="1"/>
          </p:cNvPicPr>
          <p:nvPr/>
        </p:nvPicPr>
        <p:blipFill rotWithShape="1">
          <a:blip r:embed="rId4"/>
          <a:srcRect l="9879" t="14317" r="7159" b="13717"/>
          <a:stretch/>
        </p:blipFill>
        <p:spPr>
          <a:xfrm>
            <a:off x="971406" y="3609319"/>
            <a:ext cx="1231020" cy="1067841"/>
          </a:xfrm>
          <a:prstGeom prst="rect">
            <a:avLst/>
          </a:prstGeom>
        </p:spPr>
      </p:pic>
      <p:grpSp>
        <p:nvGrpSpPr>
          <p:cNvPr id="33" name="Agrupar 32">
            <a:extLst>
              <a:ext uri="{FF2B5EF4-FFF2-40B4-BE49-F238E27FC236}">
                <a16:creationId xmlns:a16="http://schemas.microsoft.com/office/drawing/2014/main" id="{C59F791B-B2B2-A10D-B685-EF0D1568B48E}"/>
              </a:ext>
            </a:extLst>
          </p:cNvPr>
          <p:cNvGrpSpPr/>
          <p:nvPr/>
        </p:nvGrpSpPr>
        <p:grpSpPr>
          <a:xfrm>
            <a:off x="1863939" y="1984319"/>
            <a:ext cx="1483832" cy="1271390"/>
            <a:chOff x="1863939" y="2157610"/>
            <a:chExt cx="1483832" cy="1271390"/>
          </a:xfrm>
        </p:grpSpPr>
        <p:sp>
          <p:nvSpPr>
            <p:cNvPr id="15" name="Retângulo 14">
              <a:extLst>
                <a:ext uri="{FF2B5EF4-FFF2-40B4-BE49-F238E27FC236}">
                  <a16:creationId xmlns:a16="http://schemas.microsoft.com/office/drawing/2014/main" id="{CA1FDFE9-1890-A4E2-0D18-B2C7D5086945}"/>
                </a:ext>
              </a:extLst>
            </p:cNvPr>
            <p:cNvSpPr/>
            <p:nvPr/>
          </p:nvSpPr>
          <p:spPr>
            <a:xfrm>
              <a:off x="1863939" y="2157610"/>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4" name="Imagem 3">
              <a:extLst>
                <a:ext uri="{FF2B5EF4-FFF2-40B4-BE49-F238E27FC236}">
                  <a16:creationId xmlns:a16="http://schemas.microsoft.com/office/drawing/2014/main" id="{7D84F4F6-9995-1BDE-1196-79C69E7A5D87}"/>
                </a:ext>
              </a:extLst>
            </p:cNvPr>
            <p:cNvPicPr>
              <a:picLocks noChangeAspect="1"/>
            </p:cNvPicPr>
            <p:nvPr/>
          </p:nvPicPr>
          <p:blipFill>
            <a:blip r:embed="rId5"/>
            <a:stretch>
              <a:fillRect/>
            </a:stretch>
          </p:blipFill>
          <p:spPr>
            <a:xfrm>
              <a:off x="1970160" y="2157610"/>
              <a:ext cx="1271390" cy="1271390"/>
            </a:xfrm>
            <a:prstGeom prst="rect">
              <a:avLst/>
            </a:prstGeom>
          </p:spPr>
        </p:pic>
      </p:grpSp>
      <p:pic>
        <p:nvPicPr>
          <p:cNvPr id="14" name="Imagem 13">
            <a:extLst>
              <a:ext uri="{FF2B5EF4-FFF2-40B4-BE49-F238E27FC236}">
                <a16:creationId xmlns:a16="http://schemas.microsoft.com/office/drawing/2014/main" id="{13EAA610-16C7-4080-9058-ED99DF58EE69}"/>
              </a:ext>
            </a:extLst>
          </p:cNvPr>
          <p:cNvPicPr>
            <a:picLocks noChangeAspect="1"/>
          </p:cNvPicPr>
          <p:nvPr/>
        </p:nvPicPr>
        <p:blipFill>
          <a:blip r:embed="rId6"/>
          <a:stretch>
            <a:fillRect/>
          </a:stretch>
        </p:blipFill>
        <p:spPr>
          <a:xfrm>
            <a:off x="3002538" y="3609319"/>
            <a:ext cx="1067841" cy="1067841"/>
          </a:xfrm>
          <a:prstGeom prst="rect">
            <a:avLst/>
          </a:prstGeom>
        </p:spPr>
      </p:pic>
      <p:pic>
        <p:nvPicPr>
          <p:cNvPr id="21" name="Imagem 20">
            <a:extLst>
              <a:ext uri="{FF2B5EF4-FFF2-40B4-BE49-F238E27FC236}">
                <a16:creationId xmlns:a16="http://schemas.microsoft.com/office/drawing/2014/main" id="{44A1A9CD-18C2-D274-5DA0-FFFB043A4332}"/>
              </a:ext>
            </a:extLst>
          </p:cNvPr>
          <p:cNvPicPr>
            <a:picLocks noChangeAspect="1"/>
          </p:cNvPicPr>
          <p:nvPr/>
        </p:nvPicPr>
        <p:blipFill>
          <a:blip r:embed="rId7"/>
          <a:stretch>
            <a:fillRect/>
          </a:stretch>
        </p:blipFill>
        <p:spPr>
          <a:xfrm>
            <a:off x="3689930" y="4719470"/>
            <a:ext cx="760897" cy="780698"/>
          </a:xfrm>
          <a:prstGeom prst="rect">
            <a:avLst/>
          </a:prstGeom>
        </p:spPr>
      </p:pic>
      <p:pic>
        <p:nvPicPr>
          <p:cNvPr id="23" name="Imagem 22">
            <a:extLst>
              <a:ext uri="{FF2B5EF4-FFF2-40B4-BE49-F238E27FC236}">
                <a16:creationId xmlns:a16="http://schemas.microsoft.com/office/drawing/2014/main" id="{1529B494-7228-3EE5-4614-8A393051D0CF}"/>
              </a:ext>
            </a:extLst>
          </p:cNvPr>
          <p:cNvPicPr>
            <a:picLocks noChangeAspect="1"/>
          </p:cNvPicPr>
          <p:nvPr/>
        </p:nvPicPr>
        <p:blipFill>
          <a:blip r:embed="rId8"/>
          <a:stretch>
            <a:fillRect/>
          </a:stretch>
        </p:blipFill>
        <p:spPr>
          <a:xfrm>
            <a:off x="2617503" y="4866795"/>
            <a:ext cx="557628" cy="557628"/>
          </a:xfrm>
          <a:prstGeom prst="rect">
            <a:avLst/>
          </a:prstGeom>
        </p:spPr>
      </p:pic>
      <p:grpSp>
        <p:nvGrpSpPr>
          <p:cNvPr id="32" name="Agrupar 31">
            <a:extLst>
              <a:ext uri="{FF2B5EF4-FFF2-40B4-BE49-F238E27FC236}">
                <a16:creationId xmlns:a16="http://schemas.microsoft.com/office/drawing/2014/main" id="{F7184F0D-4A70-83B3-E28A-13999E4E8350}"/>
              </a:ext>
            </a:extLst>
          </p:cNvPr>
          <p:cNvGrpSpPr/>
          <p:nvPr/>
        </p:nvGrpSpPr>
        <p:grpSpPr>
          <a:xfrm>
            <a:off x="6378803" y="1984319"/>
            <a:ext cx="1483832" cy="1271390"/>
            <a:chOff x="6378803" y="2157610"/>
            <a:chExt cx="1483832" cy="1271390"/>
          </a:xfrm>
        </p:grpSpPr>
        <p:sp>
          <p:nvSpPr>
            <p:cNvPr id="28" name="Retângulo 27">
              <a:extLst>
                <a:ext uri="{FF2B5EF4-FFF2-40B4-BE49-F238E27FC236}">
                  <a16:creationId xmlns:a16="http://schemas.microsoft.com/office/drawing/2014/main" id="{9910DAFF-18AF-1EB4-78D4-93D1C0172F99}"/>
                </a:ext>
              </a:extLst>
            </p:cNvPr>
            <p:cNvSpPr/>
            <p:nvPr/>
          </p:nvSpPr>
          <p:spPr>
            <a:xfrm>
              <a:off x="6378803" y="2157610"/>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26" name="Imagem 25">
              <a:extLst>
                <a:ext uri="{FF2B5EF4-FFF2-40B4-BE49-F238E27FC236}">
                  <a16:creationId xmlns:a16="http://schemas.microsoft.com/office/drawing/2014/main" id="{81273651-6C53-268D-67C1-F63A03EFB928}"/>
                </a:ext>
              </a:extLst>
            </p:cNvPr>
            <p:cNvPicPr>
              <a:picLocks noChangeAspect="1"/>
            </p:cNvPicPr>
            <p:nvPr/>
          </p:nvPicPr>
          <p:blipFill>
            <a:blip r:embed="rId9"/>
            <a:stretch>
              <a:fillRect/>
            </a:stretch>
          </p:blipFill>
          <p:spPr>
            <a:xfrm>
              <a:off x="6498498" y="2171085"/>
              <a:ext cx="1244441" cy="1244441"/>
            </a:xfrm>
            <a:prstGeom prst="rect">
              <a:avLst/>
            </a:prstGeom>
          </p:spPr>
        </p:pic>
      </p:grpSp>
      <p:grpSp>
        <p:nvGrpSpPr>
          <p:cNvPr id="55" name="Agrupar 54">
            <a:extLst>
              <a:ext uri="{FF2B5EF4-FFF2-40B4-BE49-F238E27FC236}">
                <a16:creationId xmlns:a16="http://schemas.microsoft.com/office/drawing/2014/main" id="{1A295F9E-D940-7FD3-4FB0-7943627CD28D}"/>
              </a:ext>
            </a:extLst>
          </p:cNvPr>
          <p:cNvGrpSpPr/>
          <p:nvPr/>
        </p:nvGrpSpPr>
        <p:grpSpPr>
          <a:xfrm>
            <a:off x="5876308" y="3339169"/>
            <a:ext cx="2614548" cy="2461820"/>
            <a:chOff x="5721377" y="3193288"/>
            <a:chExt cx="2924409" cy="2753582"/>
          </a:xfrm>
        </p:grpSpPr>
        <p:grpSp>
          <p:nvGrpSpPr>
            <p:cNvPr id="54" name="Agrupar 53">
              <a:extLst>
                <a:ext uri="{FF2B5EF4-FFF2-40B4-BE49-F238E27FC236}">
                  <a16:creationId xmlns:a16="http://schemas.microsoft.com/office/drawing/2014/main" id="{FD63F863-D111-82B2-9D00-279682AC7A81}"/>
                </a:ext>
              </a:extLst>
            </p:cNvPr>
            <p:cNvGrpSpPr/>
            <p:nvPr/>
          </p:nvGrpSpPr>
          <p:grpSpPr>
            <a:xfrm>
              <a:off x="5721377" y="3193288"/>
              <a:ext cx="2924409" cy="2753582"/>
              <a:chOff x="2289400" y="988141"/>
              <a:chExt cx="5134298" cy="4834382"/>
            </a:xfrm>
          </p:grpSpPr>
          <p:sp>
            <p:nvSpPr>
              <p:cNvPr id="47" name="Freeform 18">
                <a:extLst>
                  <a:ext uri="{FF2B5EF4-FFF2-40B4-BE49-F238E27FC236}">
                    <a16:creationId xmlns:a16="http://schemas.microsoft.com/office/drawing/2014/main" id="{E1B524D9-7018-8184-7D2B-C06FF3C4858C}"/>
                  </a:ext>
                </a:extLst>
              </p:cNvPr>
              <p:cNvSpPr/>
              <p:nvPr/>
            </p:nvSpPr>
            <p:spPr>
              <a:xfrm>
                <a:off x="3329722" y="988141"/>
                <a:ext cx="3053655" cy="2192197"/>
              </a:xfrm>
              <a:custGeom>
                <a:avLst/>
                <a:gdLst>
                  <a:gd name="connsiteX0" fmla="*/ 1440000 w 2880000"/>
                  <a:gd name="connsiteY0" fmla="*/ 0 h 2067531"/>
                  <a:gd name="connsiteX1" fmla="*/ 2880000 w 2880000"/>
                  <a:gd name="connsiteY1" fmla="*/ 1440000 h 2067531"/>
                  <a:gd name="connsiteX2" fmla="*/ 2850744 w 2880000"/>
                  <a:gd name="connsiteY2" fmla="*/ 1730210 h 2067531"/>
                  <a:gd name="connsiteX3" fmla="*/ 2847285 w 2880000"/>
                  <a:gd name="connsiteY3" fmla="*/ 1743664 h 2067531"/>
                  <a:gd name="connsiteX4" fmla="*/ 2711369 w 2880000"/>
                  <a:gd name="connsiteY4" fmla="*/ 1708716 h 2067531"/>
                  <a:gd name="connsiteX5" fmla="*/ 2421159 w 2880000"/>
                  <a:gd name="connsiteY5" fmla="*/ 1679460 h 2067531"/>
                  <a:gd name="connsiteX6" fmla="*/ 1505185 w 2880000"/>
                  <a:gd name="connsiteY6" fmla="*/ 2008286 h 2067531"/>
                  <a:gd name="connsiteX7" fmla="*/ 1439999 w 2880000"/>
                  <a:gd name="connsiteY7" fmla="*/ 2067531 h 2067531"/>
                  <a:gd name="connsiteX8" fmla="*/ 1374813 w 2880000"/>
                  <a:gd name="connsiteY8" fmla="*/ 2008286 h 2067531"/>
                  <a:gd name="connsiteX9" fmla="*/ 458839 w 2880000"/>
                  <a:gd name="connsiteY9" fmla="*/ 1679460 h 2067531"/>
                  <a:gd name="connsiteX10" fmla="*/ 168629 w 2880000"/>
                  <a:gd name="connsiteY10" fmla="*/ 1708716 h 2067531"/>
                  <a:gd name="connsiteX11" fmla="*/ 32715 w 2880000"/>
                  <a:gd name="connsiteY11" fmla="*/ 1743663 h 2067531"/>
                  <a:gd name="connsiteX12" fmla="*/ 29256 w 2880000"/>
                  <a:gd name="connsiteY12" fmla="*/ 1730210 h 2067531"/>
                  <a:gd name="connsiteX13" fmla="*/ 0 w 2880000"/>
                  <a:gd name="connsiteY13" fmla="*/ 1440000 h 2067531"/>
                  <a:gd name="connsiteX14" fmla="*/ 1440000 w 2880000"/>
                  <a:gd name="connsiteY14" fmla="*/ 0 h 206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80000" h="2067531">
                    <a:moveTo>
                      <a:pt x="1440000" y="0"/>
                    </a:moveTo>
                    <a:cubicBezTo>
                      <a:pt x="2235290" y="0"/>
                      <a:pt x="2880000" y="644710"/>
                      <a:pt x="2880000" y="1440000"/>
                    </a:cubicBezTo>
                    <a:cubicBezTo>
                      <a:pt x="2880000" y="1539411"/>
                      <a:pt x="2869927" y="1636470"/>
                      <a:pt x="2850744" y="1730210"/>
                    </a:cubicBezTo>
                    <a:lnTo>
                      <a:pt x="2847285" y="1743664"/>
                    </a:lnTo>
                    <a:lnTo>
                      <a:pt x="2711369" y="1708716"/>
                    </a:lnTo>
                    <a:cubicBezTo>
                      <a:pt x="2617629" y="1689534"/>
                      <a:pt x="2520570" y="1679460"/>
                      <a:pt x="2421159" y="1679460"/>
                    </a:cubicBezTo>
                    <a:cubicBezTo>
                      <a:pt x="2073220" y="1679460"/>
                      <a:pt x="1754102" y="1802862"/>
                      <a:pt x="1505185" y="2008286"/>
                    </a:cubicBezTo>
                    <a:lnTo>
                      <a:pt x="1439999" y="2067531"/>
                    </a:lnTo>
                    <a:lnTo>
                      <a:pt x="1374813" y="2008286"/>
                    </a:lnTo>
                    <a:cubicBezTo>
                      <a:pt x="1125896" y="1802862"/>
                      <a:pt x="806778" y="1679460"/>
                      <a:pt x="458839" y="1679460"/>
                    </a:cubicBezTo>
                    <a:cubicBezTo>
                      <a:pt x="359428" y="1679460"/>
                      <a:pt x="262369" y="1689534"/>
                      <a:pt x="168629" y="1708716"/>
                    </a:cubicBezTo>
                    <a:lnTo>
                      <a:pt x="32715" y="1743663"/>
                    </a:lnTo>
                    <a:lnTo>
                      <a:pt x="29256" y="1730210"/>
                    </a:lnTo>
                    <a:cubicBezTo>
                      <a:pt x="10073" y="1636470"/>
                      <a:pt x="0" y="1539411"/>
                      <a:pt x="0" y="1440000"/>
                    </a:cubicBezTo>
                    <a:cubicBezTo>
                      <a:pt x="0" y="644710"/>
                      <a:pt x="644710" y="0"/>
                      <a:pt x="1440000" y="0"/>
                    </a:cubicBezTo>
                    <a:close/>
                  </a:path>
                </a:pathLst>
              </a:custGeom>
              <a:solidFill>
                <a:srgbClr val="FFFFFF">
                  <a:lumMod val="100000"/>
                </a:srgbClr>
              </a:solidFill>
              <a:ln w="9525" cap="flat" cmpd="sng" algn="ctr">
                <a:noFill/>
                <a:prstDash val="solid"/>
              </a:ln>
              <a:effectLst/>
              <a:extLst>
                <a:ext uri="{91240B29-F687-4F45-9708-019B960494DF}">
                  <a14:hiddenLine xmlns:a14="http://schemas.microsoft.com/office/drawing/2010/main" w="9525" cap="flat" cmpd="sng" algn="ctr">
                    <a:solidFill>
                      <a:srgbClr val="555555">
                        <a:lumMod val="100000"/>
                      </a:srgb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48" name="Freeform 17">
                <a:extLst>
                  <a:ext uri="{FF2B5EF4-FFF2-40B4-BE49-F238E27FC236}">
                    <a16:creationId xmlns:a16="http://schemas.microsoft.com/office/drawing/2014/main" id="{05E2222A-8080-4BC5-745A-51A31F29C850}"/>
                  </a:ext>
                </a:extLst>
              </p:cNvPr>
              <p:cNvSpPr/>
              <p:nvPr/>
            </p:nvSpPr>
            <p:spPr>
              <a:xfrm>
                <a:off x="2289400" y="2836942"/>
                <a:ext cx="2567149" cy="2985581"/>
              </a:xfrm>
              <a:custGeom>
                <a:avLst/>
                <a:gdLst>
                  <a:gd name="connsiteX0" fmla="*/ 1013876 w 2421160"/>
                  <a:gd name="connsiteY0" fmla="*/ 0 h 2815797"/>
                  <a:gd name="connsiteX1" fmla="*/ 1045901 w 2421160"/>
                  <a:gd name="connsiteY1" fmla="*/ 124549 h 2815797"/>
                  <a:gd name="connsiteX2" fmla="*/ 1992949 w 2421160"/>
                  <a:gd name="connsiteY2" fmla="*/ 1071597 h 2815797"/>
                  <a:gd name="connsiteX3" fmla="*/ 1995035 w 2421160"/>
                  <a:gd name="connsiteY3" fmla="*/ 1072134 h 2815797"/>
                  <a:gd name="connsiteX4" fmla="*/ 1991576 w 2421160"/>
                  <a:gd name="connsiteY4" fmla="*/ 1085587 h 2815797"/>
                  <a:gd name="connsiteX5" fmla="*/ 1962320 w 2421160"/>
                  <a:gd name="connsiteY5" fmla="*/ 1375797 h 2815797"/>
                  <a:gd name="connsiteX6" fmla="*/ 2384086 w 2421160"/>
                  <a:gd name="connsiteY6" fmla="*/ 2394031 h 2815797"/>
                  <a:gd name="connsiteX7" fmla="*/ 2421160 w 2421160"/>
                  <a:gd name="connsiteY7" fmla="*/ 2427726 h 2815797"/>
                  <a:gd name="connsiteX8" fmla="*/ 2355974 w 2421160"/>
                  <a:gd name="connsiteY8" fmla="*/ 2486971 h 2815797"/>
                  <a:gd name="connsiteX9" fmla="*/ 1440000 w 2421160"/>
                  <a:gd name="connsiteY9" fmla="*/ 2815797 h 2815797"/>
                  <a:gd name="connsiteX10" fmla="*/ 0 w 2421160"/>
                  <a:gd name="connsiteY10" fmla="*/ 1375797 h 2815797"/>
                  <a:gd name="connsiteX11" fmla="*/ 1011788 w 2421160"/>
                  <a:gd name="connsiteY11" fmla="*/ 537 h 2815797"/>
                  <a:gd name="connsiteX12" fmla="*/ 1013876 w 2421160"/>
                  <a:gd name="connsiteY12" fmla="*/ 0 h 281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160" h="2815797">
                    <a:moveTo>
                      <a:pt x="1013876" y="0"/>
                    </a:moveTo>
                    <a:lnTo>
                      <a:pt x="1045901" y="124549"/>
                    </a:lnTo>
                    <a:cubicBezTo>
                      <a:pt x="1186147" y="575456"/>
                      <a:pt x="1542042" y="931351"/>
                      <a:pt x="1992949" y="1071597"/>
                    </a:cubicBezTo>
                    <a:lnTo>
                      <a:pt x="1995035" y="1072134"/>
                    </a:lnTo>
                    <a:lnTo>
                      <a:pt x="1991576" y="1085587"/>
                    </a:lnTo>
                    <a:cubicBezTo>
                      <a:pt x="1972394" y="1179328"/>
                      <a:pt x="1962320" y="1276386"/>
                      <a:pt x="1962320" y="1375797"/>
                    </a:cubicBezTo>
                    <a:cubicBezTo>
                      <a:pt x="1962320" y="1773442"/>
                      <a:pt x="2123498" y="2133442"/>
                      <a:pt x="2384086" y="2394031"/>
                    </a:cubicBezTo>
                    <a:lnTo>
                      <a:pt x="2421160" y="2427726"/>
                    </a:lnTo>
                    <a:lnTo>
                      <a:pt x="2355974" y="2486971"/>
                    </a:lnTo>
                    <a:cubicBezTo>
                      <a:pt x="2107057" y="2692396"/>
                      <a:pt x="1787939" y="2815797"/>
                      <a:pt x="1440000" y="2815797"/>
                    </a:cubicBezTo>
                    <a:cubicBezTo>
                      <a:pt x="644710" y="2815797"/>
                      <a:pt x="0" y="2171087"/>
                      <a:pt x="0" y="1375797"/>
                    </a:cubicBezTo>
                    <a:cubicBezTo>
                      <a:pt x="0" y="729624"/>
                      <a:pt x="425609" y="182857"/>
                      <a:pt x="1011788" y="537"/>
                    </a:cubicBezTo>
                    <a:lnTo>
                      <a:pt x="1013876" y="0"/>
                    </a:lnTo>
                    <a:close/>
                  </a:path>
                </a:pathLst>
              </a:custGeom>
              <a:solidFill>
                <a:srgbClr val="FFFFFF">
                  <a:lumMod val="100000"/>
                </a:srgbClr>
              </a:solidFill>
              <a:ln w="9525" cap="flat" cmpd="sng" algn="ctr">
                <a:noFill/>
                <a:prstDash val="solid"/>
              </a:ln>
              <a:effectLst/>
              <a:extLst>
                <a:ext uri="{91240B29-F687-4F45-9708-019B960494DF}">
                  <a14:hiddenLine xmlns:a14="http://schemas.microsoft.com/office/drawing/2010/main" w="9525" cap="flat" cmpd="sng" algn="ctr">
                    <a:solidFill>
                      <a:srgbClr val="555555">
                        <a:lumMod val="100000"/>
                      </a:srgb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49" name="Freeform 16">
                <a:extLst>
                  <a:ext uri="{FF2B5EF4-FFF2-40B4-BE49-F238E27FC236}">
                    <a16:creationId xmlns:a16="http://schemas.microsoft.com/office/drawing/2014/main" id="{ABB119B7-05AA-F556-328D-F49C334FDE51}"/>
                  </a:ext>
                </a:extLst>
              </p:cNvPr>
              <p:cNvSpPr/>
              <p:nvPr/>
            </p:nvSpPr>
            <p:spPr>
              <a:xfrm>
                <a:off x="4856549" y="2836942"/>
                <a:ext cx="2567149" cy="2985581"/>
              </a:xfrm>
              <a:custGeom>
                <a:avLst/>
                <a:gdLst>
                  <a:gd name="connsiteX0" fmla="*/ 1407286 w 2421160"/>
                  <a:gd name="connsiteY0" fmla="*/ 0 h 2815796"/>
                  <a:gd name="connsiteX1" fmla="*/ 1409372 w 2421160"/>
                  <a:gd name="connsiteY1" fmla="*/ 536 h 2815796"/>
                  <a:gd name="connsiteX2" fmla="*/ 2421160 w 2421160"/>
                  <a:gd name="connsiteY2" fmla="*/ 1375796 h 2815796"/>
                  <a:gd name="connsiteX3" fmla="*/ 981160 w 2421160"/>
                  <a:gd name="connsiteY3" fmla="*/ 2815796 h 2815796"/>
                  <a:gd name="connsiteX4" fmla="*/ 65186 w 2421160"/>
                  <a:gd name="connsiteY4" fmla="*/ 2486970 h 2815796"/>
                  <a:gd name="connsiteX5" fmla="*/ 0 w 2421160"/>
                  <a:gd name="connsiteY5" fmla="*/ 2427725 h 2815796"/>
                  <a:gd name="connsiteX6" fmla="*/ 37074 w 2421160"/>
                  <a:gd name="connsiteY6" fmla="*/ 2394030 h 2815796"/>
                  <a:gd name="connsiteX7" fmla="*/ 458840 w 2421160"/>
                  <a:gd name="connsiteY7" fmla="*/ 1375796 h 2815796"/>
                  <a:gd name="connsiteX8" fmla="*/ 429584 w 2421160"/>
                  <a:gd name="connsiteY8" fmla="*/ 1085586 h 2815796"/>
                  <a:gd name="connsiteX9" fmla="*/ 426125 w 2421160"/>
                  <a:gd name="connsiteY9" fmla="*/ 1072133 h 2815796"/>
                  <a:gd name="connsiteX10" fmla="*/ 428213 w 2421160"/>
                  <a:gd name="connsiteY10" fmla="*/ 1071596 h 2815796"/>
                  <a:gd name="connsiteX11" fmla="*/ 1375261 w 2421160"/>
                  <a:gd name="connsiteY11" fmla="*/ 124548 h 2815796"/>
                  <a:gd name="connsiteX12" fmla="*/ 1407286 w 2421160"/>
                  <a:gd name="connsiteY12" fmla="*/ 0 h 281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160" h="2815796">
                    <a:moveTo>
                      <a:pt x="1407286" y="0"/>
                    </a:moveTo>
                    <a:lnTo>
                      <a:pt x="1409372" y="536"/>
                    </a:lnTo>
                    <a:cubicBezTo>
                      <a:pt x="1995551" y="182856"/>
                      <a:pt x="2421160" y="729623"/>
                      <a:pt x="2421160" y="1375796"/>
                    </a:cubicBezTo>
                    <a:cubicBezTo>
                      <a:pt x="2421160" y="2171086"/>
                      <a:pt x="1776450" y="2815796"/>
                      <a:pt x="981160" y="2815796"/>
                    </a:cubicBezTo>
                    <a:cubicBezTo>
                      <a:pt x="633221" y="2815796"/>
                      <a:pt x="314103" y="2692395"/>
                      <a:pt x="65186" y="2486970"/>
                    </a:cubicBezTo>
                    <a:lnTo>
                      <a:pt x="0" y="2427725"/>
                    </a:lnTo>
                    <a:lnTo>
                      <a:pt x="37074" y="2394030"/>
                    </a:lnTo>
                    <a:cubicBezTo>
                      <a:pt x="297663" y="2133441"/>
                      <a:pt x="458840" y="1773441"/>
                      <a:pt x="458840" y="1375796"/>
                    </a:cubicBezTo>
                    <a:cubicBezTo>
                      <a:pt x="458840" y="1276385"/>
                      <a:pt x="448767" y="1179327"/>
                      <a:pt x="429584" y="1085586"/>
                    </a:cubicBezTo>
                    <a:lnTo>
                      <a:pt x="426125" y="1072133"/>
                    </a:lnTo>
                    <a:lnTo>
                      <a:pt x="428213" y="1071596"/>
                    </a:lnTo>
                    <a:cubicBezTo>
                      <a:pt x="879120" y="931350"/>
                      <a:pt x="1235015" y="575455"/>
                      <a:pt x="1375261" y="124548"/>
                    </a:cubicBezTo>
                    <a:lnTo>
                      <a:pt x="1407286" y="0"/>
                    </a:lnTo>
                    <a:close/>
                  </a:path>
                </a:pathLst>
              </a:custGeom>
              <a:solidFill>
                <a:srgbClr val="FFFFFF">
                  <a:lumMod val="100000"/>
                </a:srgbClr>
              </a:solidFill>
              <a:ln w="9525" cap="flat" cmpd="sng" algn="ctr">
                <a:noFill/>
                <a:prstDash val="solid"/>
              </a:ln>
              <a:effectLst/>
              <a:extLst>
                <a:ext uri="{91240B29-F687-4F45-9708-019B960494DF}">
                  <a14:hiddenLine xmlns:a14="http://schemas.microsoft.com/office/drawing/2010/main" w="9525" cap="flat" cmpd="sng" algn="ctr">
                    <a:solidFill>
                      <a:srgbClr val="555555">
                        <a:lumMod val="100000"/>
                      </a:srgb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50" name="Freeform 22">
                <a:extLst>
                  <a:ext uri="{FF2B5EF4-FFF2-40B4-BE49-F238E27FC236}">
                    <a16:creationId xmlns:a16="http://schemas.microsoft.com/office/drawing/2014/main" id="{851AF2C3-4749-D072-6B61-925273FA03F9}"/>
                  </a:ext>
                </a:extLst>
              </p:cNvPr>
              <p:cNvSpPr/>
              <p:nvPr/>
            </p:nvSpPr>
            <p:spPr>
              <a:xfrm>
                <a:off x="3364411" y="2768868"/>
                <a:ext cx="1492139" cy="1204855"/>
              </a:xfrm>
              <a:custGeom>
                <a:avLst/>
                <a:gdLst>
                  <a:gd name="connsiteX0" fmla="*/ 426124 w 1407284"/>
                  <a:gd name="connsiteY0" fmla="*/ 0 h 1136337"/>
                  <a:gd name="connsiteX1" fmla="*/ 1342098 w 1407284"/>
                  <a:gd name="connsiteY1" fmla="*/ 328826 h 1136337"/>
                  <a:gd name="connsiteX2" fmla="*/ 1407284 w 1407284"/>
                  <a:gd name="connsiteY2" fmla="*/ 388071 h 1136337"/>
                  <a:gd name="connsiteX3" fmla="*/ 1370210 w 1407284"/>
                  <a:gd name="connsiteY3" fmla="*/ 421766 h 1136337"/>
                  <a:gd name="connsiteX4" fmla="*/ 1013184 w 1407284"/>
                  <a:gd name="connsiteY4" fmla="*/ 1011788 h 1136337"/>
                  <a:gd name="connsiteX5" fmla="*/ 981159 w 1407284"/>
                  <a:gd name="connsiteY5" fmla="*/ 1136337 h 1136337"/>
                  <a:gd name="connsiteX6" fmla="*/ 979073 w 1407284"/>
                  <a:gd name="connsiteY6" fmla="*/ 1135800 h 1136337"/>
                  <a:gd name="connsiteX7" fmla="*/ 32025 w 1407284"/>
                  <a:gd name="connsiteY7" fmla="*/ 188752 h 1136337"/>
                  <a:gd name="connsiteX8" fmla="*/ 0 w 1407284"/>
                  <a:gd name="connsiteY8" fmla="*/ 64203 h 1136337"/>
                  <a:gd name="connsiteX9" fmla="*/ 135914 w 1407284"/>
                  <a:gd name="connsiteY9" fmla="*/ 29256 h 1136337"/>
                  <a:gd name="connsiteX10" fmla="*/ 426124 w 1407284"/>
                  <a:gd name="connsiteY10" fmla="*/ 0 h 113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7284" h="1136337">
                    <a:moveTo>
                      <a:pt x="426124" y="0"/>
                    </a:moveTo>
                    <a:cubicBezTo>
                      <a:pt x="774063" y="0"/>
                      <a:pt x="1093181" y="123402"/>
                      <a:pt x="1342098" y="328826"/>
                    </a:cubicBezTo>
                    <a:lnTo>
                      <a:pt x="1407284" y="388071"/>
                    </a:lnTo>
                    <a:lnTo>
                      <a:pt x="1370210" y="421766"/>
                    </a:lnTo>
                    <a:cubicBezTo>
                      <a:pt x="1207343" y="584634"/>
                      <a:pt x="1083307" y="786335"/>
                      <a:pt x="1013184" y="1011788"/>
                    </a:cubicBezTo>
                    <a:lnTo>
                      <a:pt x="981159" y="1136337"/>
                    </a:lnTo>
                    <a:lnTo>
                      <a:pt x="979073" y="1135800"/>
                    </a:lnTo>
                    <a:cubicBezTo>
                      <a:pt x="528166" y="995554"/>
                      <a:pt x="172271" y="639659"/>
                      <a:pt x="32025" y="188752"/>
                    </a:cubicBezTo>
                    <a:lnTo>
                      <a:pt x="0" y="64203"/>
                    </a:lnTo>
                    <a:lnTo>
                      <a:pt x="135914" y="29256"/>
                    </a:lnTo>
                    <a:cubicBezTo>
                      <a:pt x="229654" y="10074"/>
                      <a:pt x="326713" y="0"/>
                      <a:pt x="426124" y="0"/>
                    </a:cubicBezTo>
                    <a:close/>
                  </a:path>
                </a:pathLst>
              </a:custGeom>
              <a:solidFill>
                <a:srgbClr val="AAC8E6"/>
              </a:solidFill>
              <a:ln w="9525" cap="flat" cmpd="sng" algn="ctr">
                <a:solidFill>
                  <a:srgbClr val="AAC8E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51" name="Freeform 20">
                <a:extLst>
                  <a:ext uri="{FF2B5EF4-FFF2-40B4-BE49-F238E27FC236}">
                    <a16:creationId xmlns:a16="http://schemas.microsoft.com/office/drawing/2014/main" id="{7F3B03A3-7EA7-A19A-CF5C-3C284B8273BE}"/>
                  </a:ext>
                </a:extLst>
              </p:cNvPr>
              <p:cNvSpPr/>
              <p:nvPr/>
            </p:nvSpPr>
            <p:spPr>
              <a:xfrm>
                <a:off x="4856550" y="2768868"/>
                <a:ext cx="1492141" cy="1204855"/>
              </a:xfrm>
              <a:custGeom>
                <a:avLst/>
                <a:gdLst>
                  <a:gd name="connsiteX0" fmla="*/ 981160 w 1407286"/>
                  <a:gd name="connsiteY0" fmla="*/ 0 h 1136337"/>
                  <a:gd name="connsiteX1" fmla="*/ 1271370 w 1407286"/>
                  <a:gd name="connsiteY1" fmla="*/ 29256 h 1136337"/>
                  <a:gd name="connsiteX2" fmla="*/ 1407286 w 1407286"/>
                  <a:gd name="connsiteY2" fmla="*/ 64204 h 1136337"/>
                  <a:gd name="connsiteX3" fmla="*/ 1375261 w 1407286"/>
                  <a:gd name="connsiteY3" fmla="*/ 188752 h 1136337"/>
                  <a:gd name="connsiteX4" fmla="*/ 428213 w 1407286"/>
                  <a:gd name="connsiteY4" fmla="*/ 1135800 h 1136337"/>
                  <a:gd name="connsiteX5" fmla="*/ 426125 w 1407286"/>
                  <a:gd name="connsiteY5" fmla="*/ 1136337 h 1136337"/>
                  <a:gd name="connsiteX6" fmla="*/ 394100 w 1407286"/>
                  <a:gd name="connsiteY6" fmla="*/ 1011788 h 1136337"/>
                  <a:gd name="connsiteX7" fmla="*/ 37074 w 1407286"/>
                  <a:gd name="connsiteY7" fmla="*/ 421766 h 1136337"/>
                  <a:gd name="connsiteX8" fmla="*/ 0 w 1407286"/>
                  <a:gd name="connsiteY8" fmla="*/ 388071 h 1136337"/>
                  <a:gd name="connsiteX9" fmla="*/ 65186 w 1407286"/>
                  <a:gd name="connsiteY9" fmla="*/ 328826 h 1136337"/>
                  <a:gd name="connsiteX10" fmla="*/ 981160 w 1407286"/>
                  <a:gd name="connsiteY10" fmla="*/ 0 h 113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7286" h="1136337">
                    <a:moveTo>
                      <a:pt x="981160" y="0"/>
                    </a:moveTo>
                    <a:cubicBezTo>
                      <a:pt x="1080571" y="0"/>
                      <a:pt x="1177630" y="10074"/>
                      <a:pt x="1271370" y="29256"/>
                    </a:cubicBezTo>
                    <a:lnTo>
                      <a:pt x="1407286" y="64204"/>
                    </a:lnTo>
                    <a:lnTo>
                      <a:pt x="1375261" y="188752"/>
                    </a:lnTo>
                    <a:cubicBezTo>
                      <a:pt x="1235015" y="639659"/>
                      <a:pt x="879120" y="995554"/>
                      <a:pt x="428213" y="1135800"/>
                    </a:cubicBezTo>
                    <a:lnTo>
                      <a:pt x="426125" y="1136337"/>
                    </a:lnTo>
                    <a:lnTo>
                      <a:pt x="394100" y="1011788"/>
                    </a:lnTo>
                    <a:cubicBezTo>
                      <a:pt x="323977" y="786335"/>
                      <a:pt x="199942" y="584634"/>
                      <a:pt x="37074" y="421766"/>
                    </a:cubicBezTo>
                    <a:lnTo>
                      <a:pt x="0" y="388071"/>
                    </a:lnTo>
                    <a:lnTo>
                      <a:pt x="65186" y="328826"/>
                    </a:lnTo>
                    <a:cubicBezTo>
                      <a:pt x="314103" y="123402"/>
                      <a:pt x="633221" y="0"/>
                      <a:pt x="981160" y="0"/>
                    </a:cubicBezTo>
                    <a:close/>
                  </a:path>
                </a:pathLst>
              </a:custGeom>
              <a:solidFill>
                <a:srgbClr val="AAC8E6"/>
              </a:solidFill>
              <a:ln w="9525" cap="flat" cmpd="sng" algn="ctr">
                <a:solidFill>
                  <a:srgbClr val="AAC8E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52" name="Freeform 19">
                <a:extLst>
                  <a:ext uri="{FF2B5EF4-FFF2-40B4-BE49-F238E27FC236}">
                    <a16:creationId xmlns:a16="http://schemas.microsoft.com/office/drawing/2014/main" id="{429917DA-BBEB-33CF-824A-2E6463B5734C}"/>
                  </a:ext>
                </a:extLst>
              </p:cNvPr>
              <p:cNvSpPr/>
              <p:nvPr/>
            </p:nvSpPr>
            <p:spPr>
              <a:xfrm>
                <a:off x="4370042" y="3973723"/>
                <a:ext cx="973013" cy="1437330"/>
              </a:xfrm>
              <a:custGeom>
                <a:avLst/>
                <a:gdLst>
                  <a:gd name="connsiteX0" fmla="*/ 32715 w 917680"/>
                  <a:gd name="connsiteY0" fmla="*/ 0 h 1355592"/>
                  <a:gd name="connsiteX1" fmla="*/ 168631 w 917680"/>
                  <a:gd name="connsiteY1" fmla="*/ 34947 h 1355592"/>
                  <a:gd name="connsiteX2" fmla="*/ 458841 w 917680"/>
                  <a:gd name="connsiteY2" fmla="*/ 64203 h 1355592"/>
                  <a:gd name="connsiteX3" fmla="*/ 749051 w 917680"/>
                  <a:gd name="connsiteY3" fmla="*/ 34947 h 1355592"/>
                  <a:gd name="connsiteX4" fmla="*/ 884965 w 917680"/>
                  <a:gd name="connsiteY4" fmla="*/ 0 h 1355592"/>
                  <a:gd name="connsiteX5" fmla="*/ 888424 w 917680"/>
                  <a:gd name="connsiteY5" fmla="*/ 13453 h 1355592"/>
                  <a:gd name="connsiteX6" fmla="*/ 917680 w 917680"/>
                  <a:gd name="connsiteY6" fmla="*/ 303663 h 1355592"/>
                  <a:gd name="connsiteX7" fmla="*/ 495914 w 917680"/>
                  <a:gd name="connsiteY7" fmla="*/ 1321897 h 1355592"/>
                  <a:gd name="connsiteX8" fmla="*/ 458840 w 917680"/>
                  <a:gd name="connsiteY8" fmla="*/ 1355592 h 1355592"/>
                  <a:gd name="connsiteX9" fmla="*/ 421766 w 917680"/>
                  <a:gd name="connsiteY9" fmla="*/ 1321897 h 1355592"/>
                  <a:gd name="connsiteX10" fmla="*/ 0 w 917680"/>
                  <a:gd name="connsiteY10" fmla="*/ 303663 h 1355592"/>
                  <a:gd name="connsiteX11" fmla="*/ 29256 w 917680"/>
                  <a:gd name="connsiteY11" fmla="*/ 13453 h 1355592"/>
                  <a:gd name="connsiteX12" fmla="*/ 32715 w 917680"/>
                  <a:gd name="connsiteY12" fmla="*/ 0 h 135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680" h="1355592">
                    <a:moveTo>
                      <a:pt x="32715" y="0"/>
                    </a:moveTo>
                    <a:lnTo>
                      <a:pt x="168631" y="34947"/>
                    </a:lnTo>
                    <a:cubicBezTo>
                      <a:pt x="262372" y="54130"/>
                      <a:pt x="359430" y="64203"/>
                      <a:pt x="458841" y="64203"/>
                    </a:cubicBezTo>
                    <a:cubicBezTo>
                      <a:pt x="558252" y="64203"/>
                      <a:pt x="655311" y="54130"/>
                      <a:pt x="749051" y="34947"/>
                    </a:cubicBezTo>
                    <a:lnTo>
                      <a:pt x="884965" y="0"/>
                    </a:lnTo>
                    <a:lnTo>
                      <a:pt x="888424" y="13453"/>
                    </a:lnTo>
                    <a:cubicBezTo>
                      <a:pt x="907607" y="107194"/>
                      <a:pt x="917680" y="204252"/>
                      <a:pt x="917680" y="303663"/>
                    </a:cubicBezTo>
                    <a:cubicBezTo>
                      <a:pt x="917680" y="701308"/>
                      <a:pt x="756503" y="1061308"/>
                      <a:pt x="495914" y="1321897"/>
                    </a:cubicBezTo>
                    <a:lnTo>
                      <a:pt x="458840" y="1355592"/>
                    </a:lnTo>
                    <a:lnTo>
                      <a:pt x="421766" y="1321897"/>
                    </a:lnTo>
                    <a:cubicBezTo>
                      <a:pt x="161178" y="1061308"/>
                      <a:pt x="0" y="701308"/>
                      <a:pt x="0" y="303663"/>
                    </a:cubicBezTo>
                    <a:cubicBezTo>
                      <a:pt x="0" y="204252"/>
                      <a:pt x="10074" y="107194"/>
                      <a:pt x="29256" y="13453"/>
                    </a:cubicBezTo>
                    <a:lnTo>
                      <a:pt x="32715" y="0"/>
                    </a:lnTo>
                    <a:close/>
                  </a:path>
                </a:pathLst>
              </a:custGeom>
              <a:solidFill>
                <a:srgbClr val="AAC8E6"/>
              </a:solidFill>
              <a:ln w="9525" cap="flat" cmpd="sng" algn="ctr">
                <a:solidFill>
                  <a:srgbClr val="AAC8E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sp>
            <p:nvSpPr>
              <p:cNvPr id="53" name="Freeform 15">
                <a:extLst>
                  <a:ext uri="{FF2B5EF4-FFF2-40B4-BE49-F238E27FC236}">
                    <a16:creationId xmlns:a16="http://schemas.microsoft.com/office/drawing/2014/main" id="{D214BAC3-9B47-CF5A-5F0B-248FD5D3C79D}"/>
                  </a:ext>
                </a:extLst>
              </p:cNvPr>
              <p:cNvSpPr/>
              <p:nvPr/>
            </p:nvSpPr>
            <p:spPr>
              <a:xfrm>
                <a:off x="4404731" y="3180338"/>
                <a:ext cx="903638" cy="861458"/>
              </a:xfrm>
              <a:custGeom>
                <a:avLst/>
                <a:gdLst>
                  <a:gd name="connsiteX0" fmla="*/ 426125 w 852250"/>
                  <a:gd name="connsiteY0" fmla="*/ 0 h 812469"/>
                  <a:gd name="connsiteX1" fmla="*/ 463199 w 852250"/>
                  <a:gd name="connsiteY1" fmla="*/ 33695 h 812469"/>
                  <a:gd name="connsiteX2" fmla="*/ 820225 w 852250"/>
                  <a:gd name="connsiteY2" fmla="*/ 623717 h 812469"/>
                  <a:gd name="connsiteX3" fmla="*/ 852250 w 852250"/>
                  <a:gd name="connsiteY3" fmla="*/ 748266 h 812469"/>
                  <a:gd name="connsiteX4" fmla="*/ 716336 w 852250"/>
                  <a:gd name="connsiteY4" fmla="*/ 783213 h 812469"/>
                  <a:gd name="connsiteX5" fmla="*/ 426126 w 852250"/>
                  <a:gd name="connsiteY5" fmla="*/ 812469 h 812469"/>
                  <a:gd name="connsiteX6" fmla="*/ 135916 w 852250"/>
                  <a:gd name="connsiteY6" fmla="*/ 783213 h 812469"/>
                  <a:gd name="connsiteX7" fmla="*/ 0 w 852250"/>
                  <a:gd name="connsiteY7" fmla="*/ 748266 h 812469"/>
                  <a:gd name="connsiteX8" fmla="*/ 32025 w 852250"/>
                  <a:gd name="connsiteY8" fmla="*/ 623717 h 812469"/>
                  <a:gd name="connsiteX9" fmla="*/ 389051 w 852250"/>
                  <a:gd name="connsiteY9" fmla="*/ 33695 h 812469"/>
                  <a:gd name="connsiteX10" fmla="*/ 426125 w 852250"/>
                  <a:gd name="connsiteY10" fmla="*/ 0 h 81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2250" h="812469">
                    <a:moveTo>
                      <a:pt x="426125" y="0"/>
                    </a:moveTo>
                    <a:lnTo>
                      <a:pt x="463199" y="33695"/>
                    </a:lnTo>
                    <a:cubicBezTo>
                      <a:pt x="626067" y="196563"/>
                      <a:pt x="750102" y="398264"/>
                      <a:pt x="820225" y="623717"/>
                    </a:cubicBezTo>
                    <a:lnTo>
                      <a:pt x="852250" y="748266"/>
                    </a:lnTo>
                    <a:lnTo>
                      <a:pt x="716336" y="783213"/>
                    </a:lnTo>
                    <a:cubicBezTo>
                      <a:pt x="622596" y="802396"/>
                      <a:pt x="525537" y="812469"/>
                      <a:pt x="426126" y="812469"/>
                    </a:cubicBezTo>
                    <a:cubicBezTo>
                      <a:pt x="326715" y="812469"/>
                      <a:pt x="229657" y="802396"/>
                      <a:pt x="135916" y="783213"/>
                    </a:cubicBezTo>
                    <a:lnTo>
                      <a:pt x="0" y="748266"/>
                    </a:lnTo>
                    <a:lnTo>
                      <a:pt x="32025" y="623717"/>
                    </a:lnTo>
                    <a:cubicBezTo>
                      <a:pt x="102148" y="398264"/>
                      <a:pt x="226184" y="196563"/>
                      <a:pt x="389051" y="33695"/>
                    </a:cubicBezTo>
                    <a:lnTo>
                      <a:pt x="426125" y="0"/>
                    </a:lnTo>
                    <a:close/>
                  </a:path>
                </a:pathLst>
              </a:custGeom>
              <a:solidFill>
                <a:srgbClr val="FFFFFF">
                  <a:lumMod val="100000"/>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t-BR" sz="1600" dirty="0">
                  <a:solidFill>
                    <a:schemeClr val="tx1"/>
                  </a:solidFill>
                  <a:latin typeface="Arial" panose="020B0604020202020204" pitchFamily="34" charset="0"/>
                  <a:cs typeface="Arial" panose="020B0604020202020204" pitchFamily="34" charset="0"/>
                </a:endParaRPr>
              </a:p>
            </p:txBody>
          </p:sp>
        </p:grpSp>
        <p:pic>
          <p:nvPicPr>
            <p:cNvPr id="36" name="Picture 8" descr="Tactile Contact Lenses for Blind Person - Solution-Lens.com">
              <a:extLst>
                <a:ext uri="{FF2B5EF4-FFF2-40B4-BE49-F238E27FC236}">
                  <a16:creationId xmlns:a16="http://schemas.microsoft.com/office/drawing/2014/main" id="{94DCFF39-F8DC-E23C-5FA0-175AF194470A}"/>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30765" y="3259699"/>
              <a:ext cx="1012174" cy="1026632"/>
            </a:xfrm>
            <a:prstGeom prst="rect">
              <a:avLst/>
            </a:prstGeom>
            <a:noFill/>
            <a:extLst>
              <a:ext uri="{909E8E84-426E-40DD-AFC4-6F175D3DCCD1}">
                <a14:hiddenFill xmlns:a14="http://schemas.microsoft.com/office/drawing/2010/main">
                  <a:solidFill>
                    <a:srgbClr val="FFFFFF"/>
                  </a:solidFill>
                </a14:hiddenFill>
              </a:ext>
            </a:extLst>
          </p:spPr>
        </p:pic>
        <p:pic>
          <p:nvPicPr>
            <p:cNvPr id="45" name="Imagem 44">
              <a:extLst>
                <a:ext uri="{FF2B5EF4-FFF2-40B4-BE49-F238E27FC236}">
                  <a16:creationId xmlns:a16="http://schemas.microsoft.com/office/drawing/2014/main" id="{BB17F862-99CE-6D7E-5A0E-2DD9E1A1923F}"/>
                </a:ext>
              </a:extLst>
            </p:cNvPr>
            <p:cNvPicPr>
              <a:picLocks noChangeAspect="1"/>
            </p:cNvPicPr>
            <p:nvPr/>
          </p:nvPicPr>
          <p:blipFill rotWithShape="1">
            <a:blip r:embed="rId4"/>
            <a:srcRect l="9879" t="14317" r="7159" b="13717"/>
            <a:stretch/>
          </p:blipFill>
          <p:spPr>
            <a:xfrm>
              <a:off x="5926650" y="4866795"/>
              <a:ext cx="931254" cy="807811"/>
            </a:xfrm>
            <a:prstGeom prst="rect">
              <a:avLst/>
            </a:prstGeom>
          </p:spPr>
        </p:pic>
        <p:pic>
          <p:nvPicPr>
            <p:cNvPr id="46" name="Imagem 45">
              <a:extLst>
                <a:ext uri="{FF2B5EF4-FFF2-40B4-BE49-F238E27FC236}">
                  <a16:creationId xmlns:a16="http://schemas.microsoft.com/office/drawing/2014/main" id="{1454AE89-E9D2-161A-99B9-A38EC84FFCEF}"/>
                </a:ext>
              </a:extLst>
            </p:cNvPr>
            <p:cNvPicPr>
              <a:picLocks noChangeAspect="1"/>
            </p:cNvPicPr>
            <p:nvPr/>
          </p:nvPicPr>
          <p:blipFill>
            <a:blip r:embed="rId6"/>
            <a:stretch>
              <a:fillRect/>
            </a:stretch>
          </p:blipFill>
          <p:spPr>
            <a:xfrm>
              <a:off x="7631397" y="4862622"/>
              <a:ext cx="807811" cy="807811"/>
            </a:xfrm>
            <a:prstGeom prst="rect">
              <a:avLst/>
            </a:prstGeom>
          </p:spPr>
        </p:pic>
      </p:grpSp>
      <p:sp>
        <p:nvSpPr>
          <p:cNvPr id="37" name="Retângulo 33">
            <a:extLst>
              <a:ext uri="{FF2B5EF4-FFF2-40B4-BE49-F238E27FC236}">
                <a16:creationId xmlns:a16="http://schemas.microsoft.com/office/drawing/2014/main" id="{2853D089-73F4-5A2A-871D-75786CA01CB8}"/>
              </a:ext>
            </a:extLst>
          </p:cNvPr>
          <p:cNvSpPr/>
          <p:nvPr/>
        </p:nvSpPr>
        <p:spPr>
          <a:xfrm flipH="1">
            <a:off x="334949" y="1876424"/>
            <a:ext cx="4655790" cy="4276725"/>
          </a:xfrm>
          <a:custGeom>
            <a:avLst/>
            <a:gdLst>
              <a:gd name="connsiteX0" fmla="*/ 0 w 4655790"/>
              <a:gd name="connsiteY0" fmla="*/ 0 h 4273406"/>
              <a:gd name="connsiteX1" fmla="*/ 4655790 w 4655790"/>
              <a:gd name="connsiteY1" fmla="*/ 0 h 4273406"/>
              <a:gd name="connsiteX2" fmla="*/ 4655790 w 4655790"/>
              <a:gd name="connsiteY2" fmla="*/ 4273406 h 4273406"/>
              <a:gd name="connsiteX3" fmla="*/ 0 w 4655790"/>
              <a:gd name="connsiteY3" fmla="*/ 4273406 h 4273406"/>
              <a:gd name="connsiteX4" fmla="*/ 0 w 4655790"/>
              <a:gd name="connsiteY4" fmla="*/ 0 h 4273406"/>
              <a:gd name="connsiteX0" fmla="*/ 9525 w 4655790"/>
              <a:gd name="connsiteY0" fmla="*/ 457200 h 4273406"/>
              <a:gd name="connsiteX1" fmla="*/ 4655790 w 4655790"/>
              <a:gd name="connsiteY1" fmla="*/ 0 h 4273406"/>
              <a:gd name="connsiteX2" fmla="*/ 4655790 w 4655790"/>
              <a:gd name="connsiteY2" fmla="*/ 4273406 h 4273406"/>
              <a:gd name="connsiteX3" fmla="*/ 0 w 4655790"/>
              <a:gd name="connsiteY3" fmla="*/ 4273406 h 4273406"/>
              <a:gd name="connsiteX4" fmla="*/ 9525 w 4655790"/>
              <a:gd name="connsiteY4" fmla="*/ 457200 h 4273406"/>
              <a:gd name="connsiteX0" fmla="*/ 9525 w 4655790"/>
              <a:gd name="connsiteY0" fmla="*/ 457200 h 4273406"/>
              <a:gd name="connsiteX1" fmla="*/ 834293 w 4655790"/>
              <a:gd name="connsiteY1" fmla="*/ 463406 h 4273406"/>
              <a:gd name="connsiteX2" fmla="*/ 4655790 w 4655790"/>
              <a:gd name="connsiteY2" fmla="*/ 0 h 4273406"/>
              <a:gd name="connsiteX3" fmla="*/ 4655790 w 4655790"/>
              <a:gd name="connsiteY3" fmla="*/ 4273406 h 4273406"/>
              <a:gd name="connsiteX4" fmla="*/ 0 w 4655790"/>
              <a:gd name="connsiteY4" fmla="*/ 4273406 h 4273406"/>
              <a:gd name="connsiteX5" fmla="*/ 9525 w 4655790"/>
              <a:gd name="connsiteY5"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43818 w 4655790"/>
              <a:gd name="connsiteY2" fmla="*/ 15731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60519 h 4276725"/>
              <a:gd name="connsiteX1" fmla="*/ 834293 w 4655790"/>
              <a:gd name="connsiteY1" fmla="*/ 466725 h 4276725"/>
              <a:gd name="connsiteX2" fmla="*/ 1158143 w 4655790"/>
              <a:gd name="connsiteY2" fmla="*/ 0 h 4276725"/>
              <a:gd name="connsiteX3" fmla="*/ 4655790 w 4655790"/>
              <a:gd name="connsiteY3" fmla="*/ 3319 h 4276725"/>
              <a:gd name="connsiteX4" fmla="*/ 4655790 w 4655790"/>
              <a:gd name="connsiteY4" fmla="*/ 4276725 h 4276725"/>
              <a:gd name="connsiteX5" fmla="*/ 0 w 4655790"/>
              <a:gd name="connsiteY5" fmla="*/ 4276725 h 4276725"/>
              <a:gd name="connsiteX6" fmla="*/ 9525 w 4655790"/>
              <a:gd name="connsiteY6" fmla="*/ 460519 h 4276725"/>
              <a:gd name="connsiteX0" fmla="*/ 9525 w 4655790"/>
              <a:gd name="connsiteY0" fmla="*/ 460519 h 4276725"/>
              <a:gd name="connsiteX1" fmla="*/ 1158143 w 4655790"/>
              <a:gd name="connsiteY1" fmla="*/ 457200 h 4276725"/>
              <a:gd name="connsiteX2" fmla="*/ 1158143 w 4655790"/>
              <a:gd name="connsiteY2" fmla="*/ 0 h 4276725"/>
              <a:gd name="connsiteX3" fmla="*/ 4655790 w 4655790"/>
              <a:gd name="connsiteY3" fmla="*/ 3319 h 4276725"/>
              <a:gd name="connsiteX4" fmla="*/ 4655790 w 4655790"/>
              <a:gd name="connsiteY4" fmla="*/ 4276725 h 4276725"/>
              <a:gd name="connsiteX5" fmla="*/ 0 w 4655790"/>
              <a:gd name="connsiteY5" fmla="*/ 4276725 h 4276725"/>
              <a:gd name="connsiteX6" fmla="*/ 9525 w 4655790"/>
              <a:gd name="connsiteY6" fmla="*/ 460519 h 427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5790" h="4276725">
                <a:moveTo>
                  <a:pt x="9525" y="460519"/>
                </a:moveTo>
                <a:lnTo>
                  <a:pt x="1158143" y="457200"/>
                </a:lnTo>
                <a:lnTo>
                  <a:pt x="1158143" y="0"/>
                </a:lnTo>
                <a:lnTo>
                  <a:pt x="4655790" y="3319"/>
                </a:lnTo>
                <a:lnTo>
                  <a:pt x="4655790" y="4276725"/>
                </a:lnTo>
                <a:lnTo>
                  <a:pt x="0" y="4276725"/>
                </a:lnTo>
                <a:lnTo>
                  <a:pt x="9525" y="460519"/>
                </a:lnTo>
                <a:close/>
              </a:path>
            </a:pathLst>
          </a:cu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Tree>
    <p:extLst>
      <p:ext uri="{BB962C8B-B14F-4D97-AF65-F5344CB8AC3E}">
        <p14:creationId xmlns:p14="http://schemas.microsoft.com/office/powerpoint/2010/main" val="10102386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57" name="Agrupar 56">
            <a:extLst>
              <a:ext uri="{FF2B5EF4-FFF2-40B4-BE49-F238E27FC236}">
                <a16:creationId xmlns:a16="http://schemas.microsoft.com/office/drawing/2014/main" id="{D1A42208-4261-22B1-1D78-3492919F06F6}"/>
              </a:ext>
            </a:extLst>
          </p:cNvPr>
          <p:cNvGrpSpPr/>
          <p:nvPr/>
        </p:nvGrpSpPr>
        <p:grpSpPr>
          <a:xfrm>
            <a:off x="348421" y="791999"/>
            <a:ext cx="9043199" cy="1626736"/>
            <a:chOff x="348421" y="791999"/>
            <a:chExt cx="9043199" cy="1626736"/>
          </a:xfrm>
        </p:grpSpPr>
        <p:sp>
          <p:nvSpPr>
            <p:cNvPr id="58" name="Retângulo 57">
              <a:extLst>
                <a:ext uri="{FF2B5EF4-FFF2-40B4-BE49-F238E27FC236}">
                  <a16:creationId xmlns:a16="http://schemas.microsoft.com/office/drawing/2014/main" id="{59F5C766-0E04-7331-8415-185D8B72FBEE}"/>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9" name="Imagem 58">
              <a:extLst>
                <a:ext uri="{FF2B5EF4-FFF2-40B4-BE49-F238E27FC236}">
                  <a16:creationId xmlns:a16="http://schemas.microsoft.com/office/drawing/2014/main" id="{73F4768F-7C94-BFE5-CC3B-CF34785F64D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94045" y="927951"/>
              <a:ext cx="7711536" cy="1360486"/>
            </a:xfrm>
            <a:prstGeom prst="rect">
              <a:avLst/>
            </a:prstGeom>
          </p:spPr>
        </p:pic>
        <p:sp>
          <p:nvSpPr>
            <p:cNvPr id="60" name="Retângulo 59">
              <a:extLst>
                <a:ext uri="{FF2B5EF4-FFF2-40B4-BE49-F238E27FC236}">
                  <a16:creationId xmlns:a16="http://schemas.microsoft.com/office/drawing/2014/main" id="{96F29DC2-7B65-753D-54B0-9D5FC8DF1288}"/>
                </a:ext>
              </a:extLst>
            </p:cNvPr>
            <p:cNvSpPr/>
            <p:nvPr/>
          </p:nvSpPr>
          <p:spPr>
            <a:xfrm>
              <a:off x="348421" y="791999"/>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1" name="Imagem 60">
              <a:extLst>
                <a:ext uri="{FF2B5EF4-FFF2-40B4-BE49-F238E27FC236}">
                  <a16:creationId xmlns:a16="http://schemas.microsoft.com/office/drawing/2014/main" id="{1F5FC2FF-869B-E336-92AE-F2EC7E818392}"/>
                </a:ext>
              </a:extLst>
            </p:cNvPr>
            <p:cNvPicPr>
              <a:picLocks noChangeAspect="1"/>
            </p:cNvPicPr>
            <p:nvPr/>
          </p:nvPicPr>
          <p:blipFill rotWithShape="1">
            <a:blip r:embed="rId3">
              <a:clrChange>
                <a:clrFrom>
                  <a:srgbClr val="FFFFFF"/>
                </a:clrFrom>
                <a:clrTo>
                  <a:srgbClr val="FFFFFF">
                    <a:alpha val="0"/>
                  </a:srgbClr>
                </a:clrTo>
              </a:clrChange>
            </a:blip>
            <a:srcRect l="20412" r="59747"/>
            <a:stretch/>
          </p:blipFill>
          <p:spPr>
            <a:xfrm>
              <a:off x="2568167" y="925124"/>
              <a:ext cx="1530080" cy="1360486"/>
            </a:xfrm>
            <a:prstGeom prst="rect">
              <a:avLst/>
            </a:prstGeom>
          </p:spPr>
        </p:pic>
      </p:grpSp>
      <p:sp>
        <p:nvSpPr>
          <p:cNvPr id="14" name="Retângulo 13">
            <a:extLst>
              <a:ext uri="{FF2B5EF4-FFF2-40B4-BE49-F238E27FC236}">
                <a16:creationId xmlns:a16="http://schemas.microsoft.com/office/drawing/2014/main" id="{EC78337E-8E80-0121-CB74-66D1ED183D07}"/>
              </a:ext>
            </a:extLst>
          </p:cNvPr>
          <p:cNvSpPr/>
          <p:nvPr/>
        </p:nvSpPr>
        <p:spPr>
          <a:xfrm>
            <a:off x="4863288" y="2369070"/>
            <a:ext cx="4514862"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Retângulo 14">
            <a:extLst>
              <a:ext uri="{FF2B5EF4-FFF2-40B4-BE49-F238E27FC236}">
                <a16:creationId xmlns:a16="http://schemas.microsoft.com/office/drawing/2014/main" id="{CEEF2AB8-4269-9305-E954-E81915D83B20}"/>
              </a:ext>
            </a:extLst>
          </p:cNvPr>
          <p:cNvSpPr/>
          <p:nvPr/>
        </p:nvSpPr>
        <p:spPr>
          <a:xfrm>
            <a:off x="334949" y="2369070"/>
            <a:ext cx="4541811"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5" name="Retângulo 24">
            <a:extLst>
              <a:ext uri="{FF2B5EF4-FFF2-40B4-BE49-F238E27FC236}">
                <a16:creationId xmlns:a16="http://schemas.microsoft.com/office/drawing/2014/main" id="{AE473716-58C4-B184-CEDC-1CB4DA32BE78}"/>
              </a:ext>
            </a:extLst>
          </p:cNvPr>
          <p:cNvSpPr/>
          <p:nvPr/>
        </p:nvSpPr>
        <p:spPr>
          <a:xfrm>
            <a:off x="348423" y="2369070"/>
            <a:ext cx="9029726"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18" name="Retângulo 17">
            <a:extLst>
              <a:ext uri="{FF2B5EF4-FFF2-40B4-BE49-F238E27FC236}">
                <a16:creationId xmlns:a16="http://schemas.microsoft.com/office/drawing/2014/main" id="{9013BAFF-FB4D-623A-1FF7-98733B40BE47}"/>
              </a:ext>
            </a:extLst>
          </p:cNvPr>
          <p:cNvSpPr/>
          <p:nvPr/>
        </p:nvSpPr>
        <p:spPr>
          <a:xfrm>
            <a:off x="1863939" y="19843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4" name="Retângulo 23">
            <a:extLst>
              <a:ext uri="{FF2B5EF4-FFF2-40B4-BE49-F238E27FC236}">
                <a16:creationId xmlns:a16="http://schemas.microsoft.com/office/drawing/2014/main" id="{8EE53EA0-2CB7-F78C-29E1-F9AB2A797238}"/>
              </a:ext>
            </a:extLst>
          </p:cNvPr>
          <p:cNvSpPr/>
          <p:nvPr/>
        </p:nvSpPr>
        <p:spPr>
          <a:xfrm>
            <a:off x="6378803" y="19843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42" name="Imagem 41">
            <a:extLst>
              <a:ext uri="{FF2B5EF4-FFF2-40B4-BE49-F238E27FC236}">
                <a16:creationId xmlns:a16="http://schemas.microsoft.com/office/drawing/2014/main" id="{5601814A-8C13-5910-8C65-86D16BE538B7}"/>
              </a:ext>
            </a:extLst>
          </p:cNvPr>
          <p:cNvPicPr>
            <a:picLocks noChangeAspect="1"/>
          </p:cNvPicPr>
          <p:nvPr/>
        </p:nvPicPr>
        <p:blipFill rotWithShape="1">
          <a:blip r:embed="rId4"/>
          <a:srcRect l="9879" t="14317" r="7159" b="13717"/>
          <a:stretch/>
        </p:blipFill>
        <p:spPr>
          <a:xfrm>
            <a:off x="1990345" y="2086094"/>
            <a:ext cx="1231020" cy="1067841"/>
          </a:xfrm>
          <a:prstGeom prst="rect">
            <a:avLst/>
          </a:prstGeom>
        </p:spPr>
      </p:pic>
      <p:pic>
        <p:nvPicPr>
          <p:cNvPr id="10" name="Imagem 9">
            <a:extLst>
              <a:ext uri="{FF2B5EF4-FFF2-40B4-BE49-F238E27FC236}">
                <a16:creationId xmlns:a16="http://schemas.microsoft.com/office/drawing/2014/main" id="{DCAF6AAB-A2EA-3B8C-302B-4003204A8FC2}"/>
              </a:ext>
            </a:extLst>
          </p:cNvPr>
          <p:cNvPicPr>
            <a:picLocks noChangeAspect="1"/>
          </p:cNvPicPr>
          <p:nvPr/>
        </p:nvPicPr>
        <p:blipFill>
          <a:blip r:embed="rId5"/>
          <a:stretch>
            <a:fillRect/>
          </a:stretch>
        </p:blipFill>
        <p:spPr>
          <a:xfrm>
            <a:off x="7183582" y="1989847"/>
            <a:ext cx="635627" cy="635627"/>
          </a:xfrm>
          <a:prstGeom prst="rect">
            <a:avLst/>
          </a:prstGeom>
        </p:spPr>
      </p:pic>
      <p:pic>
        <p:nvPicPr>
          <p:cNvPr id="43" name="Imagem 42">
            <a:extLst>
              <a:ext uri="{FF2B5EF4-FFF2-40B4-BE49-F238E27FC236}">
                <a16:creationId xmlns:a16="http://schemas.microsoft.com/office/drawing/2014/main" id="{32A293B9-B588-8A25-E59C-08B7FF4F5E9D}"/>
              </a:ext>
            </a:extLst>
          </p:cNvPr>
          <p:cNvPicPr>
            <a:picLocks noChangeAspect="1"/>
          </p:cNvPicPr>
          <p:nvPr/>
        </p:nvPicPr>
        <p:blipFill>
          <a:blip r:embed="rId6"/>
          <a:stretch>
            <a:fillRect/>
          </a:stretch>
        </p:blipFill>
        <p:spPr>
          <a:xfrm>
            <a:off x="1538691" y="3686301"/>
            <a:ext cx="2134328" cy="2134328"/>
          </a:xfrm>
          <a:prstGeom prst="rect">
            <a:avLst/>
          </a:prstGeom>
        </p:spPr>
      </p:pic>
      <p:pic>
        <p:nvPicPr>
          <p:cNvPr id="45" name="Picture 8" descr="Tactile Contact Lenses for Blind Person - Solution-Lens.com">
            <a:extLst>
              <a:ext uri="{FF2B5EF4-FFF2-40B4-BE49-F238E27FC236}">
                <a16:creationId xmlns:a16="http://schemas.microsoft.com/office/drawing/2014/main" id="{88A25954-C91E-48A6-373D-FD2400E897E4}"/>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03659" y="2167791"/>
            <a:ext cx="1032727" cy="1047479"/>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Agrupar 45">
            <a:extLst>
              <a:ext uri="{FF2B5EF4-FFF2-40B4-BE49-F238E27FC236}">
                <a16:creationId xmlns:a16="http://schemas.microsoft.com/office/drawing/2014/main" id="{26B66D6D-991A-7108-0E3F-233CA913283B}"/>
              </a:ext>
            </a:extLst>
          </p:cNvPr>
          <p:cNvGrpSpPr/>
          <p:nvPr/>
        </p:nvGrpSpPr>
        <p:grpSpPr>
          <a:xfrm>
            <a:off x="5505202" y="3492981"/>
            <a:ext cx="3231033" cy="2308843"/>
            <a:chOff x="4446286" y="4130538"/>
            <a:chExt cx="2925499" cy="2090514"/>
          </a:xfrm>
        </p:grpSpPr>
        <p:grpSp>
          <p:nvGrpSpPr>
            <p:cNvPr id="47" name="Agrupar 46">
              <a:extLst>
                <a:ext uri="{FF2B5EF4-FFF2-40B4-BE49-F238E27FC236}">
                  <a16:creationId xmlns:a16="http://schemas.microsoft.com/office/drawing/2014/main" id="{D2B45DA8-A170-4194-9BC5-2DE08E253BAA}"/>
                </a:ext>
              </a:extLst>
            </p:cNvPr>
            <p:cNvGrpSpPr/>
            <p:nvPr/>
          </p:nvGrpSpPr>
          <p:grpSpPr>
            <a:xfrm>
              <a:off x="5031878" y="5390491"/>
              <a:ext cx="1801039" cy="830561"/>
              <a:chOff x="5822180" y="3929871"/>
              <a:chExt cx="2492155" cy="1149272"/>
            </a:xfrm>
          </p:grpSpPr>
          <p:pic>
            <p:nvPicPr>
              <p:cNvPr id="50" name="Imagem 49">
                <a:extLst>
                  <a:ext uri="{FF2B5EF4-FFF2-40B4-BE49-F238E27FC236}">
                    <a16:creationId xmlns:a16="http://schemas.microsoft.com/office/drawing/2014/main" id="{341B78B1-928A-F22B-763E-6EF03D4EDD7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29306" b="28194"/>
              <a:stretch/>
            </p:blipFill>
            <p:spPr>
              <a:xfrm>
                <a:off x="6053539" y="4079352"/>
                <a:ext cx="1947599" cy="827730"/>
              </a:xfrm>
              <a:prstGeom prst="rect">
                <a:avLst/>
              </a:prstGeom>
            </p:spPr>
          </p:pic>
          <p:pic>
            <p:nvPicPr>
              <p:cNvPr id="51" name="Imagem 50">
                <a:extLst>
                  <a:ext uri="{FF2B5EF4-FFF2-40B4-BE49-F238E27FC236}">
                    <a16:creationId xmlns:a16="http://schemas.microsoft.com/office/drawing/2014/main" id="{87E7DBEF-9A92-B8CC-3B83-167262E6FE5E}"/>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60293" t="15914" r="15627" b="29749"/>
              <a:stretch/>
            </p:blipFill>
            <p:spPr>
              <a:xfrm rot="7200000">
                <a:off x="6029683" y="4541360"/>
                <a:ext cx="330280" cy="745285"/>
              </a:xfrm>
              <a:prstGeom prst="rect">
                <a:avLst/>
              </a:prstGeom>
            </p:spPr>
          </p:pic>
          <p:pic>
            <p:nvPicPr>
              <p:cNvPr id="52" name="Imagem 51">
                <a:extLst>
                  <a:ext uri="{FF2B5EF4-FFF2-40B4-BE49-F238E27FC236}">
                    <a16:creationId xmlns:a16="http://schemas.microsoft.com/office/drawing/2014/main" id="{2D220DFF-3BC9-3430-A5FB-35BF7FB7CA22}"/>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60293" t="15914" r="15627" b="29749"/>
              <a:stretch/>
            </p:blipFill>
            <p:spPr>
              <a:xfrm rot="14400000">
                <a:off x="6029685" y="3722370"/>
                <a:ext cx="330280" cy="745285"/>
              </a:xfrm>
              <a:prstGeom prst="rect">
                <a:avLst/>
              </a:prstGeom>
            </p:spPr>
          </p:pic>
          <p:pic>
            <p:nvPicPr>
              <p:cNvPr id="53" name="Imagem 52">
                <a:extLst>
                  <a:ext uri="{FF2B5EF4-FFF2-40B4-BE49-F238E27FC236}">
                    <a16:creationId xmlns:a16="http://schemas.microsoft.com/office/drawing/2014/main" id="{39EA881A-5041-21E7-9070-E821705F18EC}"/>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60293" t="15914" r="15627" b="29749"/>
              <a:stretch/>
            </p:blipFill>
            <p:spPr>
              <a:xfrm rot="3600000">
                <a:off x="7776553" y="4541357"/>
                <a:ext cx="330280" cy="745285"/>
              </a:xfrm>
              <a:prstGeom prst="rect">
                <a:avLst/>
              </a:prstGeom>
            </p:spPr>
          </p:pic>
          <p:pic>
            <p:nvPicPr>
              <p:cNvPr id="54" name="Imagem 53">
                <a:extLst>
                  <a:ext uri="{FF2B5EF4-FFF2-40B4-BE49-F238E27FC236}">
                    <a16:creationId xmlns:a16="http://schemas.microsoft.com/office/drawing/2014/main" id="{F3A80AD0-66D8-1CAC-4156-38C2339ADFF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60293" t="15914" r="15627" b="29749"/>
              <a:stretch/>
            </p:blipFill>
            <p:spPr>
              <a:xfrm rot="18000000">
                <a:off x="7776553" y="3722368"/>
                <a:ext cx="330280" cy="745285"/>
              </a:xfrm>
              <a:prstGeom prst="rect">
                <a:avLst/>
              </a:prstGeom>
            </p:spPr>
          </p:pic>
        </p:grpSp>
        <p:pic>
          <p:nvPicPr>
            <p:cNvPr id="48" name="Imagem 47">
              <a:extLst>
                <a:ext uri="{FF2B5EF4-FFF2-40B4-BE49-F238E27FC236}">
                  <a16:creationId xmlns:a16="http://schemas.microsoft.com/office/drawing/2014/main" id="{88D08C4C-7E06-8F7F-2187-5097769529C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41805" y="4133966"/>
              <a:ext cx="929980" cy="929980"/>
            </a:xfrm>
            <a:prstGeom prst="rect">
              <a:avLst/>
            </a:prstGeom>
          </p:spPr>
        </p:pic>
        <p:pic>
          <p:nvPicPr>
            <p:cNvPr id="49" name="Imagem 48">
              <a:extLst>
                <a:ext uri="{FF2B5EF4-FFF2-40B4-BE49-F238E27FC236}">
                  <a16:creationId xmlns:a16="http://schemas.microsoft.com/office/drawing/2014/main" id="{92272EF7-0AD5-C0BA-D187-03E6B04A623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446286" y="4130538"/>
              <a:ext cx="929981" cy="929981"/>
            </a:xfrm>
            <a:prstGeom prst="rect">
              <a:avLst/>
            </a:prstGeom>
          </p:spPr>
        </p:pic>
      </p:grpSp>
    </p:spTree>
    <p:extLst>
      <p:ext uri="{BB962C8B-B14F-4D97-AF65-F5344CB8AC3E}">
        <p14:creationId xmlns:p14="http://schemas.microsoft.com/office/powerpoint/2010/main" val="25333562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87" name="Agrupar 86">
            <a:extLst>
              <a:ext uri="{FF2B5EF4-FFF2-40B4-BE49-F238E27FC236}">
                <a16:creationId xmlns:a16="http://schemas.microsoft.com/office/drawing/2014/main" id="{5D51B421-2510-FC08-64E5-9C511A327927}"/>
              </a:ext>
            </a:extLst>
          </p:cNvPr>
          <p:cNvGrpSpPr/>
          <p:nvPr/>
        </p:nvGrpSpPr>
        <p:grpSpPr>
          <a:xfrm>
            <a:off x="348421" y="791999"/>
            <a:ext cx="9043199" cy="1626736"/>
            <a:chOff x="348421" y="791999"/>
            <a:chExt cx="9043199" cy="1626736"/>
          </a:xfrm>
        </p:grpSpPr>
        <p:sp>
          <p:nvSpPr>
            <p:cNvPr id="88" name="Retângulo 87">
              <a:extLst>
                <a:ext uri="{FF2B5EF4-FFF2-40B4-BE49-F238E27FC236}">
                  <a16:creationId xmlns:a16="http://schemas.microsoft.com/office/drawing/2014/main" id="{97B2C1B4-CACE-0A13-2F9C-1BD51EC8A0AF}"/>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89" name="Imagem 88">
              <a:extLst>
                <a:ext uri="{FF2B5EF4-FFF2-40B4-BE49-F238E27FC236}">
                  <a16:creationId xmlns:a16="http://schemas.microsoft.com/office/drawing/2014/main" id="{C202F017-BC5F-D273-3F4F-E9C5896BA22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94045" y="927951"/>
              <a:ext cx="7711536" cy="1360486"/>
            </a:xfrm>
            <a:prstGeom prst="rect">
              <a:avLst/>
            </a:prstGeom>
          </p:spPr>
        </p:pic>
        <p:sp>
          <p:nvSpPr>
            <p:cNvPr id="90" name="Retângulo 89">
              <a:extLst>
                <a:ext uri="{FF2B5EF4-FFF2-40B4-BE49-F238E27FC236}">
                  <a16:creationId xmlns:a16="http://schemas.microsoft.com/office/drawing/2014/main" id="{1D203FE2-31FE-9828-6A85-1CD51F4251FF}"/>
                </a:ext>
              </a:extLst>
            </p:cNvPr>
            <p:cNvSpPr/>
            <p:nvPr/>
          </p:nvSpPr>
          <p:spPr>
            <a:xfrm>
              <a:off x="348421" y="791999"/>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1" name="Imagem 90">
              <a:extLst>
                <a:ext uri="{FF2B5EF4-FFF2-40B4-BE49-F238E27FC236}">
                  <a16:creationId xmlns:a16="http://schemas.microsoft.com/office/drawing/2014/main" id="{99E3B88D-D8D2-71EE-603D-731ED12BBB7E}"/>
                </a:ext>
              </a:extLst>
            </p:cNvPr>
            <p:cNvPicPr>
              <a:picLocks noChangeAspect="1"/>
            </p:cNvPicPr>
            <p:nvPr/>
          </p:nvPicPr>
          <p:blipFill rotWithShape="1">
            <a:blip r:embed="rId3">
              <a:clrChange>
                <a:clrFrom>
                  <a:srgbClr val="FFFFFF"/>
                </a:clrFrom>
                <a:clrTo>
                  <a:srgbClr val="FFFFFF">
                    <a:alpha val="0"/>
                  </a:srgbClr>
                </a:clrTo>
              </a:clrChange>
            </a:blip>
            <a:srcRect l="39813" t="-5050" r="40346" b="46012"/>
            <a:stretch/>
          </p:blipFill>
          <p:spPr>
            <a:xfrm>
              <a:off x="4064321" y="856436"/>
              <a:ext cx="1530080" cy="803204"/>
            </a:xfrm>
            <a:prstGeom prst="rect">
              <a:avLst/>
            </a:prstGeom>
          </p:spPr>
        </p:pic>
      </p:grpSp>
      <p:sp>
        <p:nvSpPr>
          <p:cNvPr id="25" name="Retângulo 24">
            <a:extLst>
              <a:ext uri="{FF2B5EF4-FFF2-40B4-BE49-F238E27FC236}">
                <a16:creationId xmlns:a16="http://schemas.microsoft.com/office/drawing/2014/main" id="{AE473716-58C4-B184-CEDC-1CB4DA32BE78}"/>
              </a:ext>
            </a:extLst>
          </p:cNvPr>
          <p:cNvSpPr/>
          <p:nvPr/>
        </p:nvSpPr>
        <p:spPr>
          <a:xfrm>
            <a:off x="368630" y="2416406"/>
            <a:ext cx="9029726"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9" name="Retângulo 8">
            <a:extLst>
              <a:ext uri="{FF2B5EF4-FFF2-40B4-BE49-F238E27FC236}">
                <a16:creationId xmlns:a16="http://schemas.microsoft.com/office/drawing/2014/main" id="{53D1490D-81A0-633F-400E-DDDE852E1112}"/>
              </a:ext>
            </a:extLst>
          </p:cNvPr>
          <p:cNvSpPr/>
          <p:nvPr/>
        </p:nvSpPr>
        <p:spPr>
          <a:xfrm>
            <a:off x="1863939" y="19843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0" name="Retângulo 9">
            <a:extLst>
              <a:ext uri="{FF2B5EF4-FFF2-40B4-BE49-F238E27FC236}">
                <a16:creationId xmlns:a16="http://schemas.microsoft.com/office/drawing/2014/main" id="{07D072CF-5360-C49B-3ED2-727CAA3F652A}"/>
              </a:ext>
            </a:extLst>
          </p:cNvPr>
          <p:cNvSpPr/>
          <p:nvPr/>
        </p:nvSpPr>
        <p:spPr>
          <a:xfrm>
            <a:off x="6378803" y="19843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F3C4A87A-75E7-D58C-69BB-B2C57534B61D}"/>
              </a:ext>
            </a:extLst>
          </p:cNvPr>
          <p:cNvPicPr>
            <a:picLocks noChangeAspect="1"/>
          </p:cNvPicPr>
          <p:nvPr/>
        </p:nvPicPr>
        <p:blipFill>
          <a:blip r:embed="rId4"/>
          <a:stretch>
            <a:fillRect/>
          </a:stretch>
        </p:blipFill>
        <p:spPr>
          <a:xfrm>
            <a:off x="1970160" y="1984319"/>
            <a:ext cx="1271390" cy="1271390"/>
          </a:xfrm>
          <a:prstGeom prst="rect">
            <a:avLst/>
          </a:prstGeom>
        </p:spPr>
      </p:pic>
      <p:grpSp>
        <p:nvGrpSpPr>
          <p:cNvPr id="12" name="Agrupar 11">
            <a:extLst>
              <a:ext uri="{FF2B5EF4-FFF2-40B4-BE49-F238E27FC236}">
                <a16:creationId xmlns:a16="http://schemas.microsoft.com/office/drawing/2014/main" id="{DB6AAF18-8294-38E5-141E-1959E1CD1F0F}"/>
              </a:ext>
            </a:extLst>
          </p:cNvPr>
          <p:cNvGrpSpPr/>
          <p:nvPr/>
        </p:nvGrpSpPr>
        <p:grpSpPr>
          <a:xfrm>
            <a:off x="6459681" y="2071001"/>
            <a:ext cx="1322099" cy="1175184"/>
            <a:chOff x="4836189" y="4272263"/>
            <a:chExt cx="2192415" cy="1948789"/>
          </a:xfrm>
        </p:grpSpPr>
        <p:grpSp>
          <p:nvGrpSpPr>
            <p:cNvPr id="13" name="Agrupar 12">
              <a:extLst>
                <a:ext uri="{FF2B5EF4-FFF2-40B4-BE49-F238E27FC236}">
                  <a16:creationId xmlns:a16="http://schemas.microsoft.com/office/drawing/2014/main" id="{22399081-01D8-2C31-B439-0DDDC259DA08}"/>
                </a:ext>
              </a:extLst>
            </p:cNvPr>
            <p:cNvGrpSpPr/>
            <p:nvPr/>
          </p:nvGrpSpPr>
          <p:grpSpPr>
            <a:xfrm>
              <a:off x="5031878" y="5390491"/>
              <a:ext cx="1801039" cy="830561"/>
              <a:chOff x="5822180" y="3929871"/>
              <a:chExt cx="2492155" cy="1149272"/>
            </a:xfrm>
          </p:grpSpPr>
          <p:pic>
            <p:nvPicPr>
              <p:cNvPr id="16" name="Imagem 15">
                <a:extLst>
                  <a:ext uri="{FF2B5EF4-FFF2-40B4-BE49-F238E27FC236}">
                    <a16:creationId xmlns:a16="http://schemas.microsoft.com/office/drawing/2014/main" id="{E16C44D2-B279-4426-360E-FABD39EBD55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9306" b="28194"/>
              <a:stretch/>
            </p:blipFill>
            <p:spPr>
              <a:xfrm>
                <a:off x="6053539" y="4079352"/>
                <a:ext cx="1947599" cy="827730"/>
              </a:xfrm>
              <a:prstGeom prst="rect">
                <a:avLst/>
              </a:prstGeom>
            </p:spPr>
          </p:pic>
          <p:pic>
            <p:nvPicPr>
              <p:cNvPr id="17" name="Imagem 16">
                <a:extLst>
                  <a:ext uri="{FF2B5EF4-FFF2-40B4-BE49-F238E27FC236}">
                    <a16:creationId xmlns:a16="http://schemas.microsoft.com/office/drawing/2014/main" id="{8A827D59-520B-8B9D-5774-FB702993C4F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7200000">
                <a:off x="6029683" y="4541360"/>
                <a:ext cx="330280" cy="745285"/>
              </a:xfrm>
              <a:prstGeom prst="rect">
                <a:avLst/>
              </a:prstGeom>
            </p:spPr>
          </p:pic>
          <p:pic>
            <p:nvPicPr>
              <p:cNvPr id="18" name="Imagem 17">
                <a:extLst>
                  <a:ext uri="{FF2B5EF4-FFF2-40B4-BE49-F238E27FC236}">
                    <a16:creationId xmlns:a16="http://schemas.microsoft.com/office/drawing/2014/main" id="{5A62C299-8DC8-CADF-0A99-0DCD797FE62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4400000">
                <a:off x="6029685" y="3722370"/>
                <a:ext cx="330280" cy="745285"/>
              </a:xfrm>
              <a:prstGeom prst="rect">
                <a:avLst/>
              </a:prstGeom>
            </p:spPr>
          </p:pic>
          <p:pic>
            <p:nvPicPr>
              <p:cNvPr id="19" name="Imagem 18">
                <a:extLst>
                  <a:ext uri="{FF2B5EF4-FFF2-40B4-BE49-F238E27FC236}">
                    <a16:creationId xmlns:a16="http://schemas.microsoft.com/office/drawing/2014/main" id="{90E0A152-CBF2-9711-9BB8-F5E16173990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3600000">
                <a:off x="7776553" y="4541357"/>
                <a:ext cx="330280" cy="745285"/>
              </a:xfrm>
              <a:prstGeom prst="rect">
                <a:avLst/>
              </a:prstGeom>
            </p:spPr>
          </p:pic>
          <p:pic>
            <p:nvPicPr>
              <p:cNvPr id="20" name="Imagem 19">
                <a:extLst>
                  <a:ext uri="{FF2B5EF4-FFF2-40B4-BE49-F238E27FC236}">
                    <a16:creationId xmlns:a16="http://schemas.microsoft.com/office/drawing/2014/main" id="{75B39556-5BFC-917E-B473-62A45698FF7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8000000">
                <a:off x="7776553" y="3722368"/>
                <a:ext cx="330280" cy="745285"/>
              </a:xfrm>
              <a:prstGeom prst="rect">
                <a:avLst/>
              </a:prstGeom>
            </p:spPr>
          </p:pic>
        </p:grpSp>
        <p:pic>
          <p:nvPicPr>
            <p:cNvPr id="14" name="Imagem 13">
              <a:extLst>
                <a:ext uri="{FF2B5EF4-FFF2-40B4-BE49-F238E27FC236}">
                  <a16:creationId xmlns:a16="http://schemas.microsoft.com/office/drawing/2014/main" id="{C371C56E-CDFA-7951-2A55-8D8780A4BEA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98624" y="4272263"/>
              <a:ext cx="929980" cy="929980"/>
            </a:xfrm>
            <a:prstGeom prst="rect">
              <a:avLst/>
            </a:prstGeom>
          </p:spPr>
        </p:pic>
        <p:pic>
          <p:nvPicPr>
            <p:cNvPr id="15" name="Imagem 14">
              <a:extLst>
                <a:ext uri="{FF2B5EF4-FFF2-40B4-BE49-F238E27FC236}">
                  <a16:creationId xmlns:a16="http://schemas.microsoft.com/office/drawing/2014/main" id="{5FDC05FE-9402-C982-596D-6C9B8F20CA5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36189" y="4283920"/>
              <a:ext cx="929981" cy="929981"/>
            </a:xfrm>
            <a:prstGeom prst="rect">
              <a:avLst/>
            </a:prstGeom>
          </p:spPr>
        </p:pic>
      </p:grpSp>
      <p:grpSp>
        <p:nvGrpSpPr>
          <p:cNvPr id="22" name="Agrupar 21">
            <a:extLst>
              <a:ext uri="{FF2B5EF4-FFF2-40B4-BE49-F238E27FC236}">
                <a16:creationId xmlns:a16="http://schemas.microsoft.com/office/drawing/2014/main" id="{A1FC7D0C-EF99-45CB-25CC-EEA4A2F05F71}"/>
              </a:ext>
            </a:extLst>
          </p:cNvPr>
          <p:cNvGrpSpPr/>
          <p:nvPr/>
        </p:nvGrpSpPr>
        <p:grpSpPr>
          <a:xfrm>
            <a:off x="2861236" y="3951142"/>
            <a:ext cx="1597866" cy="795812"/>
            <a:chOff x="2647068" y="3953347"/>
            <a:chExt cx="2048189" cy="1020094"/>
          </a:xfrm>
        </p:grpSpPr>
        <p:pic>
          <p:nvPicPr>
            <p:cNvPr id="21" name="Gráfico 20">
              <a:extLst>
                <a:ext uri="{FF2B5EF4-FFF2-40B4-BE49-F238E27FC236}">
                  <a16:creationId xmlns:a16="http://schemas.microsoft.com/office/drawing/2014/main" id="{B9EF4080-151F-0A2D-1CD6-09087C10BFE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47068" y="3953347"/>
              <a:ext cx="2048189" cy="1020094"/>
            </a:xfrm>
            <a:prstGeom prst="rect">
              <a:avLst/>
            </a:prstGeom>
          </p:spPr>
        </p:pic>
        <p:pic>
          <p:nvPicPr>
            <p:cNvPr id="1026" name="Picture 2">
              <a:extLst>
                <a:ext uri="{FF2B5EF4-FFF2-40B4-BE49-F238E27FC236}">
                  <a16:creationId xmlns:a16="http://schemas.microsoft.com/office/drawing/2014/main" id="{E96210B8-D554-18AB-C40C-8F6AD201914B}"/>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30912" y="4096937"/>
              <a:ext cx="1271391" cy="741610"/>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Imagem 23">
            <a:extLst>
              <a:ext uri="{FF2B5EF4-FFF2-40B4-BE49-F238E27FC236}">
                <a16:creationId xmlns:a16="http://schemas.microsoft.com/office/drawing/2014/main" id="{27555D89-3EA5-9933-9B36-093DB1D21BA5}"/>
              </a:ext>
            </a:extLst>
          </p:cNvPr>
          <p:cNvPicPr>
            <a:picLocks noChangeAspect="1"/>
          </p:cNvPicPr>
          <p:nvPr/>
        </p:nvPicPr>
        <p:blipFill>
          <a:blip r:embed="rId12"/>
          <a:stretch>
            <a:fillRect/>
          </a:stretch>
        </p:blipFill>
        <p:spPr>
          <a:xfrm>
            <a:off x="949647" y="3773980"/>
            <a:ext cx="1330572" cy="1330572"/>
          </a:xfrm>
          <a:prstGeom prst="rect">
            <a:avLst/>
          </a:prstGeom>
        </p:spPr>
      </p:pic>
      <p:grpSp>
        <p:nvGrpSpPr>
          <p:cNvPr id="45" name="Agrupar 44">
            <a:extLst>
              <a:ext uri="{FF2B5EF4-FFF2-40B4-BE49-F238E27FC236}">
                <a16:creationId xmlns:a16="http://schemas.microsoft.com/office/drawing/2014/main" id="{7D1D5A75-1672-B9BB-91D4-2D7ED5260F26}"/>
              </a:ext>
            </a:extLst>
          </p:cNvPr>
          <p:cNvGrpSpPr/>
          <p:nvPr/>
        </p:nvGrpSpPr>
        <p:grpSpPr>
          <a:xfrm>
            <a:off x="5205294" y="3442044"/>
            <a:ext cx="1951514" cy="518270"/>
            <a:chOff x="5205294" y="3840480"/>
            <a:chExt cx="1951514" cy="518270"/>
          </a:xfrm>
        </p:grpSpPr>
        <p:grpSp>
          <p:nvGrpSpPr>
            <p:cNvPr id="32" name="Agrupar 31">
              <a:extLst>
                <a:ext uri="{FF2B5EF4-FFF2-40B4-BE49-F238E27FC236}">
                  <a16:creationId xmlns:a16="http://schemas.microsoft.com/office/drawing/2014/main" id="{D3552D0F-DAFE-E32C-E729-79B7E2A65968}"/>
                </a:ext>
              </a:extLst>
            </p:cNvPr>
            <p:cNvGrpSpPr/>
            <p:nvPr/>
          </p:nvGrpSpPr>
          <p:grpSpPr>
            <a:xfrm>
              <a:off x="5660748" y="3840480"/>
              <a:ext cx="1040605" cy="518270"/>
              <a:chOff x="2647068" y="3953347"/>
              <a:chExt cx="2048189" cy="1020094"/>
            </a:xfrm>
          </p:grpSpPr>
          <p:pic>
            <p:nvPicPr>
              <p:cNvPr id="33" name="Gráfico 32">
                <a:extLst>
                  <a:ext uri="{FF2B5EF4-FFF2-40B4-BE49-F238E27FC236}">
                    <a16:creationId xmlns:a16="http://schemas.microsoft.com/office/drawing/2014/main" id="{B5FE678D-FD6A-026D-9F4D-97B633DEDF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47068" y="3953347"/>
                <a:ext cx="2048189" cy="1020094"/>
              </a:xfrm>
              <a:prstGeom prst="rect">
                <a:avLst/>
              </a:prstGeom>
            </p:spPr>
          </p:pic>
          <p:pic>
            <p:nvPicPr>
              <p:cNvPr id="34" name="Picture 2">
                <a:extLst>
                  <a:ext uri="{FF2B5EF4-FFF2-40B4-BE49-F238E27FC236}">
                    <a16:creationId xmlns:a16="http://schemas.microsoft.com/office/drawing/2014/main" id="{A5EAF0AE-C8A2-6976-0709-6F125776E0C3}"/>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30912" y="4096937"/>
                <a:ext cx="1271391" cy="741610"/>
              </a:xfrm>
              <a:prstGeom prst="rect">
                <a:avLst/>
              </a:prstGeom>
              <a:noFill/>
              <a:extLst>
                <a:ext uri="{909E8E84-426E-40DD-AFC4-6F175D3DCCD1}">
                  <a14:hiddenFill xmlns:a14="http://schemas.microsoft.com/office/drawing/2010/main">
                    <a:solidFill>
                      <a:srgbClr val="FFFFFF"/>
                    </a:solidFill>
                  </a14:hiddenFill>
                </a:ext>
              </a:extLst>
            </p:spPr>
          </p:pic>
        </p:grpSp>
        <p:pic>
          <p:nvPicPr>
            <p:cNvPr id="27" name="Imagem 26">
              <a:extLst>
                <a:ext uri="{FF2B5EF4-FFF2-40B4-BE49-F238E27FC236}">
                  <a16:creationId xmlns:a16="http://schemas.microsoft.com/office/drawing/2014/main" id="{0B5BB691-22E7-839A-1E7C-DFA78D90A633}"/>
                </a:ext>
              </a:extLst>
            </p:cNvPr>
            <p:cNvPicPr>
              <a:picLocks noChangeAspect="1"/>
            </p:cNvPicPr>
            <p:nvPr/>
          </p:nvPicPr>
          <p:blipFill>
            <a:blip r:embed="rId13"/>
            <a:stretch>
              <a:fillRect/>
            </a:stretch>
          </p:blipFill>
          <p:spPr>
            <a:xfrm rot="5400000">
              <a:off x="5205295" y="3972872"/>
              <a:ext cx="357944" cy="357945"/>
            </a:xfrm>
            <a:prstGeom prst="rect">
              <a:avLst/>
            </a:prstGeom>
          </p:spPr>
        </p:pic>
        <p:pic>
          <p:nvPicPr>
            <p:cNvPr id="38" name="Imagem 37">
              <a:extLst>
                <a:ext uri="{FF2B5EF4-FFF2-40B4-BE49-F238E27FC236}">
                  <a16:creationId xmlns:a16="http://schemas.microsoft.com/office/drawing/2014/main" id="{7E367ABD-009C-E127-3DB4-C4DFED54315D}"/>
                </a:ext>
              </a:extLst>
            </p:cNvPr>
            <p:cNvPicPr>
              <a:picLocks noChangeAspect="1"/>
            </p:cNvPicPr>
            <p:nvPr/>
          </p:nvPicPr>
          <p:blipFill>
            <a:blip r:embed="rId13"/>
            <a:stretch>
              <a:fillRect/>
            </a:stretch>
          </p:blipFill>
          <p:spPr>
            <a:xfrm rot="16200000">
              <a:off x="6798863" y="3991922"/>
              <a:ext cx="357943" cy="357946"/>
            </a:xfrm>
            <a:prstGeom prst="rect">
              <a:avLst/>
            </a:prstGeom>
          </p:spPr>
        </p:pic>
      </p:grpSp>
      <p:grpSp>
        <p:nvGrpSpPr>
          <p:cNvPr id="39" name="Agrupar 38">
            <a:extLst>
              <a:ext uri="{FF2B5EF4-FFF2-40B4-BE49-F238E27FC236}">
                <a16:creationId xmlns:a16="http://schemas.microsoft.com/office/drawing/2014/main" id="{D1551523-2026-B5BA-D2F3-C9778A38F7CD}"/>
              </a:ext>
            </a:extLst>
          </p:cNvPr>
          <p:cNvGrpSpPr/>
          <p:nvPr/>
        </p:nvGrpSpPr>
        <p:grpSpPr>
          <a:xfrm>
            <a:off x="7632549" y="3364804"/>
            <a:ext cx="926348" cy="878479"/>
            <a:chOff x="7886703" y="3680460"/>
            <a:chExt cx="926348" cy="878479"/>
          </a:xfrm>
        </p:grpSpPr>
        <p:pic>
          <p:nvPicPr>
            <p:cNvPr id="40" name="Imagem 39">
              <a:extLst>
                <a:ext uri="{FF2B5EF4-FFF2-40B4-BE49-F238E27FC236}">
                  <a16:creationId xmlns:a16="http://schemas.microsoft.com/office/drawing/2014/main" id="{ABB9D69C-17E2-F768-6982-4B98E87BDBC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86703" y="3680460"/>
              <a:ext cx="747683" cy="747683"/>
            </a:xfrm>
            <a:prstGeom prst="rect">
              <a:avLst/>
            </a:prstGeom>
          </p:spPr>
        </p:pic>
        <p:pic>
          <p:nvPicPr>
            <p:cNvPr id="43" name="Picture 2">
              <a:extLst>
                <a:ext uri="{FF2B5EF4-FFF2-40B4-BE49-F238E27FC236}">
                  <a16:creationId xmlns:a16="http://schemas.microsoft.com/office/drawing/2014/main" id="{762492C0-85BB-A45F-7D61-CFF447B34730}"/>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67107" y="4182156"/>
              <a:ext cx="645944" cy="3767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3" name="Agrupar 1032">
            <a:extLst>
              <a:ext uri="{FF2B5EF4-FFF2-40B4-BE49-F238E27FC236}">
                <a16:creationId xmlns:a16="http://schemas.microsoft.com/office/drawing/2014/main" id="{54442C32-E7C2-10C7-32E2-F6BF9E765997}"/>
              </a:ext>
            </a:extLst>
          </p:cNvPr>
          <p:cNvGrpSpPr/>
          <p:nvPr/>
        </p:nvGrpSpPr>
        <p:grpSpPr>
          <a:xfrm>
            <a:off x="6195828" y="4442581"/>
            <a:ext cx="1814140" cy="1509401"/>
            <a:chOff x="6081787" y="4268551"/>
            <a:chExt cx="2088683" cy="1737826"/>
          </a:xfrm>
        </p:grpSpPr>
        <p:pic>
          <p:nvPicPr>
            <p:cNvPr id="44" name="Imagem 43">
              <a:extLst>
                <a:ext uri="{FF2B5EF4-FFF2-40B4-BE49-F238E27FC236}">
                  <a16:creationId xmlns:a16="http://schemas.microsoft.com/office/drawing/2014/main" id="{09CE2D41-0D93-BDC2-EB46-0C955191A983}"/>
                </a:ext>
              </a:extLst>
            </p:cNvPr>
            <p:cNvPicPr>
              <a:picLocks noChangeAspect="1"/>
            </p:cNvPicPr>
            <p:nvPr/>
          </p:nvPicPr>
          <p:blipFill>
            <a:blip r:embed="rId14"/>
            <a:stretch>
              <a:fillRect/>
            </a:stretch>
          </p:blipFill>
          <p:spPr>
            <a:xfrm rot="16200000">
              <a:off x="6916712" y="4942148"/>
              <a:ext cx="457501" cy="457501"/>
            </a:xfrm>
            <a:prstGeom prst="rect">
              <a:avLst/>
            </a:prstGeom>
          </p:spPr>
        </p:pic>
        <p:grpSp>
          <p:nvGrpSpPr>
            <p:cNvPr id="46" name="Agrupar 45">
              <a:extLst>
                <a:ext uri="{FF2B5EF4-FFF2-40B4-BE49-F238E27FC236}">
                  <a16:creationId xmlns:a16="http://schemas.microsoft.com/office/drawing/2014/main" id="{38A8D031-10A5-79E0-8819-FFCA124C49CD}"/>
                </a:ext>
              </a:extLst>
            </p:cNvPr>
            <p:cNvGrpSpPr/>
            <p:nvPr/>
          </p:nvGrpSpPr>
          <p:grpSpPr>
            <a:xfrm>
              <a:off x="6288502" y="4268551"/>
              <a:ext cx="1664458" cy="767576"/>
              <a:chOff x="6577688" y="4232948"/>
              <a:chExt cx="1086086" cy="500856"/>
            </a:xfrm>
          </p:grpSpPr>
          <p:pic>
            <p:nvPicPr>
              <p:cNvPr id="48" name="Imagem 47">
                <a:extLst>
                  <a:ext uri="{FF2B5EF4-FFF2-40B4-BE49-F238E27FC236}">
                    <a16:creationId xmlns:a16="http://schemas.microsoft.com/office/drawing/2014/main" id="{93A3F8C3-CE9F-2680-37B3-E82F40E2FB2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9306" b="28194"/>
              <a:stretch/>
            </p:blipFill>
            <p:spPr>
              <a:xfrm>
                <a:off x="6678515" y="4298092"/>
                <a:ext cx="848767" cy="360727"/>
              </a:xfrm>
              <a:prstGeom prst="rect">
                <a:avLst/>
              </a:prstGeom>
            </p:spPr>
          </p:pic>
          <p:pic>
            <p:nvPicPr>
              <p:cNvPr id="49" name="Imagem 48">
                <a:extLst>
                  <a:ext uri="{FF2B5EF4-FFF2-40B4-BE49-F238E27FC236}">
                    <a16:creationId xmlns:a16="http://schemas.microsoft.com/office/drawing/2014/main" id="{446ED3D0-1B48-34D1-2392-E5490B98AE1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7200000">
                <a:off x="6668118" y="4499437"/>
                <a:ext cx="143937" cy="324797"/>
              </a:xfrm>
              <a:prstGeom prst="rect">
                <a:avLst/>
              </a:prstGeom>
            </p:spPr>
          </p:pic>
          <p:pic>
            <p:nvPicPr>
              <p:cNvPr id="50" name="Imagem 49">
                <a:extLst>
                  <a:ext uri="{FF2B5EF4-FFF2-40B4-BE49-F238E27FC236}">
                    <a16:creationId xmlns:a16="http://schemas.microsoft.com/office/drawing/2014/main" id="{5947A405-2300-85CC-BAB9-699DECC762B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4400000">
                <a:off x="6668119" y="4142519"/>
                <a:ext cx="143937" cy="324797"/>
              </a:xfrm>
              <a:prstGeom prst="rect">
                <a:avLst/>
              </a:prstGeom>
            </p:spPr>
          </p:pic>
          <p:pic>
            <p:nvPicPr>
              <p:cNvPr id="51" name="Imagem 50">
                <a:extLst>
                  <a:ext uri="{FF2B5EF4-FFF2-40B4-BE49-F238E27FC236}">
                    <a16:creationId xmlns:a16="http://schemas.microsoft.com/office/drawing/2014/main" id="{95744893-4BFB-F88F-7DDB-47EE96D169D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3600000">
                <a:off x="7429407" y="4499436"/>
                <a:ext cx="143937" cy="324797"/>
              </a:xfrm>
              <a:prstGeom prst="rect">
                <a:avLst/>
              </a:prstGeom>
            </p:spPr>
          </p:pic>
          <p:pic>
            <p:nvPicPr>
              <p:cNvPr id="52" name="Imagem 51">
                <a:extLst>
                  <a:ext uri="{FF2B5EF4-FFF2-40B4-BE49-F238E27FC236}">
                    <a16:creationId xmlns:a16="http://schemas.microsoft.com/office/drawing/2014/main" id="{C551B4A8-608C-DD96-D558-6882DEEE182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8000000">
                <a:off x="7429407" y="4142518"/>
                <a:ext cx="143937" cy="324797"/>
              </a:xfrm>
              <a:prstGeom prst="rect">
                <a:avLst/>
              </a:prstGeom>
            </p:spPr>
          </p:pic>
        </p:grpSp>
        <p:pic>
          <p:nvPicPr>
            <p:cNvPr id="57" name="Imagem 56">
              <a:extLst>
                <a:ext uri="{FF2B5EF4-FFF2-40B4-BE49-F238E27FC236}">
                  <a16:creationId xmlns:a16="http://schemas.microsoft.com/office/drawing/2014/main" id="{7103518B-E84C-C45E-E74A-78FE15341F5C}"/>
                </a:ext>
              </a:extLst>
            </p:cNvPr>
            <p:cNvPicPr>
              <a:picLocks noChangeAspect="1"/>
            </p:cNvPicPr>
            <p:nvPr/>
          </p:nvPicPr>
          <p:blipFill>
            <a:blip r:embed="rId15"/>
            <a:stretch>
              <a:fillRect/>
            </a:stretch>
          </p:blipFill>
          <p:spPr>
            <a:xfrm>
              <a:off x="6603233" y="5475058"/>
              <a:ext cx="524345" cy="524345"/>
            </a:xfrm>
            <a:prstGeom prst="rect">
              <a:avLst/>
            </a:prstGeom>
          </p:spPr>
        </p:pic>
        <p:pic>
          <p:nvPicPr>
            <p:cNvPr id="58" name="Imagem 57">
              <a:extLst>
                <a:ext uri="{FF2B5EF4-FFF2-40B4-BE49-F238E27FC236}">
                  <a16:creationId xmlns:a16="http://schemas.microsoft.com/office/drawing/2014/main" id="{5AEF1A3A-6155-281E-C34D-659FB46AC237}"/>
                </a:ext>
              </a:extLst>
            </p:cNvPr>
            <p:cNvPicPr>
              <a:picLocks noChangeAspect="1"/>
            </p:cNvPicPr>
            <p:nvPr/>
          </p:nvPicPr>
          <p:blipFill>
            <a:blip r:embed="rId15"/>
            <a:stretch>
              <a:fillRect/>
            </a:stretch>
          </p:blipFill>
          <p:spPr>
            <a:xfrm>
              <a:off x="6081787" y="5482032"/>
              <a:ext cx="524345" cy="524345"/>
            </a:xfrm>
            <a:prstGeom prst="rect">
              <a:avLst/>
            </a:prstGeom>
          </p:spPr>
        </p:pic>
        <p:pic>
          <p:nvPicPr>
            <p:cNvPr id="59" name="Imagem 58">
              <a:extLst>
                <a:ext uri="{FF2B5EF4-FFF2-40B4-BE49-F238E27FC236}">
                  <a16:creationId xmlns:a16="http://schemas.microsoft.com/office/drawing/2014/main" id="{2A89B50B-1ABD-84DD-48DB-0FE7345EC7AF}"/>
                </a:ext>
              </a:extLst>
            </p:cNvPr>
            <p:cNvPicPr>
              <a:picLocks noChangeAspect="1"/>
            </p:cNvPicPr>
            <p:nvPr/>
          </p:nvPicPr>
          <p:blipFill>
            <a:blip r:embed="rId15"/>
            <a:stretch>
              <a:fillRect/>
            </a:stretch>
          </p:blipFill>
          <p:spPr>
            <a:xfrm>
              <a:off x="7646125" y="5475058"/>
              <a:ext cx="524345" cy="524345"/>
            </a:xfrm>
            <a:prstGeom prst="rect">
              <a:avLst/>
            </a:prstGeom>
          </p:spPr>
        </p:pic>
        <p:pic>
          <p:nvPicPr>
            <p:cNvPr id="60" name="Imagem 59">
              <a:extLst>
                <a:ext uri="{FF2B5EF4-FFF2-40B4-BE49-F238E27FC236}">
                  <a16:creationId xmlns:a16="http://schemas.microsoft.com/office/drawing/2014/main" id="{EAAA3E92-554D-8614-AE5E-264E518635F4}"/>
                </a:ext>
              </a:extLst>
            </p:cNvPr>
            <p:cNvPicPr>
              <a:picLocks noChangeAspect="1"/>
            </p:cNvPicPr>
            <p:nvPr/>
          </p:nvPicPr>
          <p:blipFill>
            <a:blip r:embed="rId15"/>
            <a:stretch>
              <a:fillRect/>
            </a:stretch>
          </p:blipFill>
          <p:spPr>
            <a:xfrm>
              <a:off x="7124679" y="5475058"/>
              <a:ext cx="524345" cy="524345"/>
            </a:xfrm>
            <a:prstGeom prst="rect">
              <a:avLst/>
            </a:prstGeom>
          </p:spPr>
        </p:pic>
        <p:grpSp>
          <p:nvGrpSpPr>
            <p:cNvPr id="1030" name="Agrupar 1029">
              <a:extLst>
                <a:ext uri="{FF2B5EF4-FFF2-40B4-BE49-F238E27FC236}">
                  <a16:creationId xmlns:a16="http://schemas.microsoft.com/office/drawing/2014/main" id="{4A3A86EE-DE76-7D1C-3264-1D3B7156A6B4}"/>
                </a:ext>
              </a:extLst>
            </p:cNvPr>
            <p:cNvGrpSpPr/>
            <p:nvPr/>
          </p:nvGrpSpPr>
          <p:grpSpPr>
            <a:xfrm>
              <a:off x="6338888" y="5255244"/>
              <a:ext cx="611982" cy="425004"/>
              <a:chOff x="6338888" y="5255244"/>
              <a:chExt cx="611982" cy="425004"/>
            </a:xfrm>
          </p:grpSpPr>
          <p:cxnSp>
            <p:nvCxnSpPr>
              <p:cNvPr id="55" name="Conector reto 54">
                <a:extLst>
                  <a:ext uri="{FF2B5EF4-FFF2-40B4-BE49-F238E27FC236}">
                    <a16:creationId xmlns:a16="http://schemas.microsoft.com/office/drawing/2014/main" id="{F39C3D88-D606-F27B-5E0F-082ED5199F11}"/>
                  </a:ext>
                </a:extLst>
              </p:cNvPr>
              <p:cNvCxnSpPr>
                <a:cxnSpLocks/>
              </p:cNvCxnSpPr>
              <p:nvPr/>
            </p:nvCxnSpPr>
            <p:spPr>
              <a:xfrm flipH="1">
                <a:off x="6338888" y="5257450"/>
                <a:ext cx="611982" cy="0"/>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Conector reto 68">
                <a:extLst>
                  <a:ext uri="{FF2B5EF4-FFF2-40B4-BE49-F238E27FC236}">
                    <a16:creationId xmlns:a16="http://schemas.microsoft.com/office/drawing/2014/main" id="{406413B5-59A5-10E9-914E-D82BE36C06BB}"/>
                  </a:ext>
                </a:extLst>
              </p:cNvPr>
              <p:cNvCxnSpPr>
                <a:cxnSpLocks/>
              </p:cNvCxnSpPr>
              <p:nvPr/>
            </p:nvCxnSpPr>
            <p:spPr>
              <a:xfrm>
                <a:off x="6343959" y="5255244"/>
                <a:ext cx="0" cy="425004"/>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3" name="Agrupar 72">
              <a:extLst>
                <a:ext uri="{FF2B5EF4-FFF2-40B4-BE49-F238E27FC236}">
                  <a16:creationId xmlns:a16="http://schemas.microsoft.com/office/drawing/2014/main" id="{3CBE171A-D7B8-A35A-E29B-15F0F86839C0}"/>
                </a:ext>
              </a:extLst>
            </p:cNvPr>
            <p:cNvGrpSpPr/>
            <p:nvPr/>
          </p:nvGrpSpPr>
          <p:grpSpPr>
            <a:xfrm flipH="1">
              <a:off x="7300925" y="5255244"/>
              <a:ext cx="611982" cy="425004"/>
              <a:chOff x="6338888" y="5255244"/>
              <a:chExt cx="611982" cy="425004"/>
            </a:xfrm>
          </p:grpSpPr>
          <p:cxnSp>
            <p:nvCxnSpPr>
              <p:cNvPr id="74" name="Conector reto 73">
                <a:extLst>
                  <a:ext uri="{FF2B5EF4-FFF2-40B4-BE49-F238E27FC236}">
                    <a16:creationId xmlns:a16="http://schemas.microsoft.com/office/drawing/2014/main" id="{05346CBF-EBE0-6E13-18D9-B76DA8509034}"/>
                  </a:ext>
                </a:extLst>
              </p:cNvPr>
              <p:cNvCxnSpPr>
                <a:cxnSpLocks/>
              </p:cNvCxnSpPr>
              <p:nvPr/>
            </p:nvCxnSpPr>
            <p:spPr>
              <a:xfrm flipH="1">
                <a:off x="6338888" y="5257450"/>
                <a:ext cx="611982" cy="0"/>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Conector reto 74">
                <a:extLst>
                  <a:ext uri="{FF2B5EF4-FFF2-40B4-BE49-F238E27FC236}">
                    <a16:creationId xmlns:a16="http://schemas.microsoft.com/office/drawing/2014/main" id="{CBD45C3B-8868-E333-DAC4-933AF4121B37}"/>
                  </a:ext>
                </a:extLst>
              </p:cNvPr>
              <p:cNvCxnSpPr>
                <a:cxnSpLocks/>
              </p:cNvCxnSpPr>
              <p:nvPr/>
            </p:nvCxnSpPr>
            <p:spPr>
              <a:xfrm>
                <a:off x="6343959" y="5255244"/>
                <a:ext cx="0" cy="425004"/>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6" name="Agrupar 75">
              <a:extLst>
                <a:ext uri="{FF2B5EF4-FFF2-40B4-BE49-F238E27FC236}">
                  <a16:creationId xmlns:a16="http://schemas.microsoft.com/office/drawing/2014/main" id="{590A523D-7F43-43B4-0C03-36E7AE67FBC3}"/>
                </a:ext>
              </a:extLst>
            </p:cNvPr>
            <p:cNvGrpSpPr/>
            <p:nvPr/>
          </p:nvGrpSpPr>
          <p:grpSpPr>
            <a:xfrm>
              <a:off x="6860385" y="5338587"/>
              <a:ext cx="117449" cy="341661"/>
              <a:chOff x="6338888" y="5255244"/>
              <a:chExt cx="117449" cy="341661"/>
            </a:xfrm>
          </p:grpSpPr>
          <p:cxnSp>
            <p:nvCxnSpPr>
              <p:cNvPr id="77" name="Conector reto 76">
                <a:extLst>
                  <a:ext uri="{FF2B5EF4-FFF2-40B4-BE49-F238E27FC236}">
                    <a16:creationId xmlns:a16="http://schemas.microsoft.com/office/drawing/2014/main" id="{CAD36578-C3CB-9A3F-F05D-04EE3690F69B}"/>
                  </a:ext>
                </a:extLst>
              </p:cNvPr>
              <p:cNvCxnSpPr>
                <a:cxnSpLocks/>
              </p:cNvCxnSpPr>
              <p:nvPr/>
            </p:nvCxnSpPr>
            <p:spPr>
              <a:xfrm flipH="1">
                <a:off x="6338888" y="5257450"/>
                <a:ext cx="117449" cy="0"/>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Conector reto 77">
                <a:extLst>
                  <a:ext uri="{FF2B5EF4-FFF2-40B4-BE49-F238E27FC236}">
                    <a16:creationId xmlns:a16="http://schemas.microsoft.com/office/drawing/2014/main" id="{FFDEC5B3-7040-D47C-926E-9E8EC2B87D2F}"/>
                  </a:ext>
                </a:extLst>
              </p:cNvPr>
              <p:cNvCxnSpPr>
                <a:cxnSpLocks/>
              </p:cNvCxnSpPr>
              <p:nvPr/>
            </p:nvCxnSpPr>
            <p:spPr>
              <a:xfrm>
                <a:off x="6343959" y="5255244"/>
                <a:ext cx="0" cy="341661"/>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1" name="Agrupar 80">
              <a:extLst>
                <a:ext uri="{FF2B5EF4-FFF2-40B4-BE49-F238E27FC236}">
                  <a16:creationId xmlns:a16="http://schemas.microsoft.com/office/drawing/2014/main" id="{CD18D4B3-8A94-C541-47B6-95FAF2CF054A}"/>
                </a:ext>
              </a:extLst>
            </p:cNvPr>
            <p:cNvGrpSpPr/>
            <p:nvPr/>
          </p:nvGrpSpPr>
          <p:grpSpPr>
            <a:xfrm flipH="1">
              <a:off x="7277108" y="5338587"/>
              <a:ext cx="117449" cy="341661"/>
              <a:chOff x="6338888" y="5255244"/>
              <a:chExt cx="117449" cy="341661"/>
            </a:xfrm>
          </p:grpSpPr>
          <p:cxnSp>
            <p:nvCxnSpPr>
              <p:cNvPr id="82" name="Conector reto 81">
                <a:extLst>
                  <a:ext uri="{FF2B5EF4-FFF2-40B4-BE49-F238E27FC236}">
                    <a16:creationId xmlns:a16="http://schemas.microsoft.com/office/drawing/2014/main" id="{62874766-6C37-59E5-59D9-ABDC5E9D5680}"/>
                  </a:ext>
                </a:extLst>
              </p:cNvPr>
              <p:cNvCxnSpPr>
                <a:cxnSpLocks/>
              </p:cNvCxnSpPr>
              <p:nvPr/>
            </p:nvCxnSpPr>
            <p:spPr>
              <a:xfrm flipH="1">
                <a:off x="6338888" y="5257450"/>
                <a:ext cx="117449" cy="0"/>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Conector reto 82">
                <a:extLst>
                  <a:ext uri="{FF2B5EF4-FFF2-40B4-BE49-F238E27FC236}">
                    <a16:creationId xmlns:a16="http://schemas.microsoft.com/office/drawing/2014/main" id="{89239C9C-78B8-5535-C35A-10F4E5CFD5B7}"/>
                  </a:ext>
                </a:extLst>
              </p:cNvPr>
              <p:cNvCxnSpPr>
                <a:cxnSpLocks/>
              </p:cNvCxnSpPr>
              <p:nvPr/>
            </p:nvCxnSpPr>
            <p:spPr>
              <a:xfrm>
                <a:off x="6343959" y="5255244"/>
                <a:ext cx="0" cy="341661"/>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86" name="Retângulo 33">
            <a:extLst>
              <a:ext uri="{FF2B5EF4-FFF2-40B4-BE49-F238E27FC236}">
                <a16:creationId xmlns:a16="http://schemas.microsoft.com/office/drawing/2014/main" id="{0F02DB3C-1562-BEE1-2CCD-BD541AC80378}"/>
              </a:ext>
            </a:extLst>
          </p:cNvPr>
          <p:cNvSpPr/>
          <p:nvPr/>
        </p:nvSpPr>
        <p:spPr>
          <a:xfrm>
            <a:off x="4890232" y="1879744"/>
            <a:ext cx="4655790" cy="4273406"/>
          </a:xfrm>
          <a:custGeom>
            <a:avLst/>
            <a:gdLst>
              <a:gd name="connsiteX0" fmla="*/ 0 w 4655790"/>
              <a:gd name="connsiteY0" fmla="*/ 0 h 4273406"/>
              <a:gd name="connsiteX1" fmla="*/ 4655790 w 4655790"/>
              <a:gd name="connsiteY1" fmla="*/ 0 h 4273406"/>
              <a:gd name="connsiteX2" fmla="*/ 4655790 w 4655790"/>
              <a:gd name="connsiteY2" fmla="*/ 4273406 h 4273406"/>
              <a:gd name="connsiteX3" fmla="*/ 0 w 4655790"/>
              <a:gd name="connsiteY3" fmla="*/ 4273406 h 4273406"/>
              <a:gd name="connsiteX4" fmla="*/ 0 w 4655790"/>
              <a:gd name="connsiteY4" fmla="*/ 0 h 4273406"/>
              <a:gd name="connsiteX0" fmla="*/ 9525 w 4655790"/>
              <a:gd name="connsiteY0" fmla="*/ 457200 h 4273406"/>
              <a:gd name="connsiteX1" fmla="*/ 4655790 w 4655790"/>
              <a:gd name="connsiteY1" fmla="*/ 0 h 4273406"/>
              <a:gd name="connsiteX2" fmla="*/ 4655790 w 4655790"/>
              <a:gd name="connsiteY2" fmla="*/ 4273406 h 4273406"/>
              <a:gd name="connsiteX3" fmla="*/ 0 w 4655790"/>
              <a:gd name="connsiteY3" fmla="*/ 4273406 h 4273406"/>
              <a:gd name="connsiteX4" fmla="*/ 9525 w 4655790"/>
              <a:gd name="connsiteY4" fmla="*/ 457200 h 4273406"/>
              <a:gd name="connsiteX0" fmla="*/ 9525 w 4655790"/>
              <a:gd name="connsiteY0" fmla="*/ 457200 h 4273406"/>
              <a:gd name="connsiteX1" fmla="*/ 834293 w 4655790"/>
              <a:gd name="connsiteY1" fmla="*/ 463406 h 4273406"/>
              <a:gd name="connsiteX2" fmla="*/ 4655790 w 4655790"/>
              <a:gd name="connsiteY2" fmla="*/ 0 h 4273406"/>
              <a:gd name="connsiteX3" fmla="*/ 4655790 w 4655790"/>
              <a:gd name="connsiteY3" fmla="*/ 4273406 h 4273406"/>
              <a:gd name="connsiteX4" fmla="*/ 0 w 4655790"/>
              <a:gd name="connsiteY4" fmla="*/ 4273406 h 4273406"/>
              <a:gd name="connsiteX5" fmla="*/ 9525 w 4655790"/>
              <a:gd name="connsiteY5"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43818 w 4655790"/>
              <a:gd name="connsiteY2" fmla="*/ 15731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5790" h="4273406">
                <a:moveTo>
                  <a:pt x="9525" y="457200"/>
                </a:moveTo>
                <a:lnTo>
                  <a:pt x="834293" y="463406"/>
                </a:lnTo>
                <a:lnTo>
                  <a:pt x="843818" y="15731"/>
                </a:lnTo>
                <a:lnTo>
                  <a:pt x="4655790" y="0"/>
                </a:lnTo>
                <a:lnTo>
                  <a:pt x="4655790" y="4273406"/>
                </a:lnTo>
                <a:lnTo>
                  <a:pt x="0" y="4273406"/>
                </a:lnTo>
                <a:lnTo>
                  <a:pt x="9525" y="457200"/>
                </a:lnTo>
                <a:close/>
              </a:path>
            </a:pathLst>
          </a:cu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Tree>
    <p:extLst>
      <p:ext uri="{BB962C8B-B14F-4D97-AF65-F5344CB8AC3E}">
        <p14:creationId xmlns:p14="http://schemas.microsoft.com/office/powerpoint/2010/main" val="32807774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63" name="Agrupar 62">
            <a:extLst>
              <a:ext uri="{FF2B5EF4-FFF2-40B4-BE49-F238E27FC236}">
                <a16:creationId xmlns:a16="http://schemas.microsoft.com/office/drawing/2014/main" id="{B8CEB805-CAA8-BDC2-17A4-508B60958461}"/>
              </a:ext>
            </a:extLst>
          </p:cNvPr>
          <p:cNvGrpSpPr/>
          <p:nvPr/>
        </p:nvGrpSpPr>
        <p:grpSpPr>
          <a:xfrm>
            <a:off x="348421" y="791999"/>
            <a:ext cx="9043199" cy="1626736"/>
            <a:chOff x="348421" y="791999"/>
            <a:chExt cx="9043199" cy="1626736"/>
          </a:xfrm>
        </p:grpSpPr>
        <p:sp>
          <p:nvSpPr>
            <p:cNvPr id="64" name="Retângulo 63">
              <a:extLst>
                <a:ext uri="{FF2B5EF4-FFF2-40B4-BE49-F238E27FC236}">
                  <a16:creationId xmlns:a16="http://schemas.microsoft.com/office/drawing/2014/main" id="{36929E9C-4D07-F210-6E8B-92FC0B47FE7C}"/>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65" name="Imagem 64">
              <a:extLst>
                <a:ext uri="{FF2B5EF4-FFF2-40B4-BE49-F238E27FC236}">
                  <a16:creationId xmlns:a16="http://schemas.microsoft.com/office/drawing/2014/main" id="{9B086764-29EE-3054-9098-76A3B6D8065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94045" y="927951"/>
              <a:ext cx="7711536" cy="1360486"/>
            </a:xfrm>
            <a:prstGeom prst="rect">
              <a:avLst/>
            </a:prstGeom>
          </p:spPr>
        </p:pic>
        <p:sp>
          <p:nvSpPr>
            <p:cNvPr id="66" name="Retângulo 65">
              <a:extLst>
                <a:ext uri="{FF2B5EF4-FFF2-40B4-BE49-F238E27FC236}">
                  <a16:creationId xmlns:a16="http://schemas.microsoft.com/office/drawing/2014/main" id="{0EA1E0EF-659F-B0C6-3A99-66AC1457D4B0}"/>
                </a:ext>
              </a:extLst>
            </p:cNvPr>
            <p:cNvSpPr/>
            <p:nvPr/>
          </p:nvSpPr>
          <p:spPr>
            <a:xfrm>
              <a:off x="348421" y="791999"/>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7" name="Imagem 66">
              <a:extLst>
                <a:ext uri="{FF2B5EF4-FFF2-40B4-BE49-F238E27FC236}">
                  <a16:creationId xmlns:a16="http://schemas.microsoft.com/office/drawing/2014/main" id="{6AA095C7-32D6-9889-909B-D684490E7441}"/>
                </a:ext>
              </a:extLst>
            </p:cNvPr>
            <p:cNvPicPr>
              <a:picLocks noChangeAspect="1"/>
            </p:cNvPicPr>
            <p:nvPr/>
          </p:nvPicPr>
          <p:blipFill rotWithShape="1">
            <a:blip r:embed="rId3">
              <a:clrChange>
                <a:clrFrom>
                  <a:srgbClr val="FFFFFF"/>
                </a:clrFrom>
                <a:clrTo>
                  <a:srgbClr val="FFFFFF">
                    <a:alpha val="0"/>
                  </a:srgbClr>
                </a:clrTo>
              </a:clrChange>
            </a:blip>
            <a:srcRect l="39906" t="45136" r="40253"/>
            <a:stretch/>
          </p:blipFill>
          <p:spPr>
            <a:xfrm>
              <a:off x="4071464" y="1539194"/>
              <a:ext cx="1530080" cy="746416"/>
            </a:xfrm>
            <a:prstGeom prst="rect">
              <a:avLst/>
            </a:prstGeom>
          </p:spPr>
        </p:pic>
      </p:grpSp>
      <p:sp>
        <p:nvSpPr>
          <p:cNvPr id="25" name="Retângulo 24">
            <a:extLst>
              <a:ext uri="{FF2B5EF4-FFF2-40B4-BE49-F238E27FC236}">
                <a16:creationId xmlns:a16="http://schemas.microsoft.com/office/drawing/2014/main" id="{AE473716-58C4-B184-CEDC-1CB4DA32BE78}"/>
              </a:ext>
            </a:extLst>
          </p:cNvPr>
          <p:cNvSpPr/>
          <p:nvPr/>
        </p:nvSpPr>
        <p:spPr>
          <a:xfrm>
            <a:off x="361894" y="2416406"/>
            <a:ext cx="9029726"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9" name="Retângulo 8">
            <a:extLst>
              <a:ext uri="{FF2B5EF4-FFF2-40B4-BE49-F238E27FC236}">
                <a16:creationId xmlns:a16="http://schemas.microsoft.com/office/drawing/2014/main" id="{53D1490D-81A0-633F-400E-DDDE852E1112}"/>
              </a:ext>
            </a:extLst>
          </p:cNvPr>
          <p:cNvSpPr/>
          <p:nvPr/>
        </p:nvSpPr>
        <p:spPr>
          <a:xfrm>
            <a:off x="1863939" y="19843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0" name="Retângulo 9">
            <a:extLst>
              <a:ext uri="{FF2B5EF4-FFF2-40B4-BE49-F238E27FC236}">
                <a16:creationId xmlns:a16="http://schemas.microsoft.com/office/drawing/2014/main" id="{07D072CF-5360-C49B-3ED2-727CAA3F652A}"/>
              </a:ext>
            </a:extLst>
          </p:cNvPr>
          <p:cNvSpPr/>
          <p:nvPr/>
        </p:nvSpPr>
        <p:spPr>
          <a:xfrm>
            <a:off x="6378803" y="19843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F3C4A87A-75E7-D58C-69BB-B2C57534B61D}"/>
              </a:ext>
            </a:extLst>
          </p:cNvPr>
          <p:cNvPicPr>
            <a:picLocks noChangeAspect="1"/>
          </p:cNvPicPr>
          <p:nvPr/>
        </p:nvPicPr>
        <p:blipFill>
          <a:blip r:embed="rId4"/>
          <a:stretch>
            <a:fillRect/>
          </a:stretch>
        </p:blipFill>
        <p:spPr>
          <a:xfrm>
            <a:off x="1970160" y="1984319"/>
            <a:ext cx="1271390" cy="1271390"/>
          </a:xfrm>
          <a:prstGeom prst="rect">
            <a:avLst/>
          </a:prstGeom>
        </p:spPr>
      </p:pic>
      <p:grpSp>
        <p:nvGrpSpPr>
          <p:cNvPr id="12" name="Agrupar 11">
            <a:extLst>
              <a:ext uri="{FF2B5EF4-FFF2-40B4-BE49-F238E27FC236}">
                <a16:creationId xmlns:a16="http://schemas.microsoft.com/office/drawing/2014/main" id="{DB6AAF18-8294-38E5-141E-1959E1CD1F0F}"/>
              </a:ext>
            </a:extLst>
          </p:cNvPr>
          <p:cNvGrpSpPr/>
          <p:nvPr/>
        </p:nvGrpSpPr>
        <p:grpSpPr>
          <a:xfrm>
            <a:off x="6459681" y="2071001"/>
            <a:ext cx="1322099" cy="1175184"/>
            <a:chOff x="4836189" y="4272263"/>
            <a:chExt cx="2192415" cy="1948789"/>
          </a:xfrm>
        </p:grpSpPr>
        <p:grpSp>
          <p:nvGrpSpPr>
            <p:cNvPr id="13" name="Agrupar 12">
              <a:extLst>
                <a:ext uri="{FF2B5EF4-FFF2-40B4-BE49-F238E27FC236}">
                  <a16:creationId xmlns:a16="http://schemas.microsoft.com/office/drawing/2014/main" id="{22399081-01D8-2C31-B439-0DDDC259DA08}"/>
                </a:ext>
              </a:extLst>
            </p:cNvPr>
            <p:cNvGrpSpPr/>
            <p:nvPr/>
          </p:nvGrpSpPr>
          <p:grpSpPr>
            <a:xfrm>
              <a:off x="5031878" y="5390491"/>
              <a:ext cx="1801039" cy="830561"/>
              <a:chOff x="5822180" y="3929871"/>
              <a:chExt cx="2492155" cy="1149272"/>
            </a:xfrm>
          </p:grpSpPr>
          <p:pic>
            <p:nvPicPr>
              <p:cNvPr id="16" name="Imagem 15">
                <a:extLst>
                  <a:ext uri="{FF2B5EF4-FFF2-40B4-BE49-F238E27FC236}">
                    <a16:creationId xmlns:a16="http://schemas.microsoft.com/office/drawing/2014/main" id="{E16C44D2-B279-4426-360E-FABD39EBD55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9306" b="28194"/>
              <a:stretch/>
            </p:blipFill>
            <p:spPr>
              <a:xfrm>
                <a:off x="6053539" y="4079352"/>
                <a:ext cx="1947599" cy="827730"/>
              </a:xfrm>
              <a:prstGeom prst="rect">
                <a:avLst/>
              </a:prstGeom>
            </p:spPr>
          </p:pic>
          <p:pic>
            <p:nvPicPr>
              <p:cNvPr id="17" name="Imagem 16">
                <a:extLst>
                  <a:ext uri="{FF2B5EF4-FFF2-40B4-BE49-F238E27FC236}">
                    <a16:creationId xmlns:a16="http://schemas.microsoft.com/office/drawing/2014/main" id="{8A827D59-520B-8B9D-5774-FB702993C4F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7200000">
                <a:off x="6029683" y="4541360"/>
                <a:ext cx="330280" cy="745285"/>
              </a:xfrm>
              <a:prstGeom prst="rect">
                <a:avLst/>
              </a:prstGeom>
            </p:spPr>
          </p:pic>
          <p:pic>
            <p:nvPicPr>
              <p:cNvPr id="18" name="Imagem 17">
                <a:extLst>
                  <a:ext uri="{FF2B5EF4-FFF2-40B4-BE49-F238E27FC236}">
                    <a16:creationId xmlns:a16="http://schemas.microsoft.com/office/drawing/2014/main" id="{5A62C299-8DC8-CADF-0A99-0DCD797FE62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4400000">
                <a:off x="6029685" y="3722370"/>
                <a:ext cx="330280" cy="745285"/>
              </a:xfrm>
              <a:prstGeom prst="rect">
                <a:avLst/>
              </a:prstGeom>
            </p:spPr>
          </p:pic>
          <p:pic>
            <p:nvPicPr>
              <p:cNvPr id="19" name="Imagem 18">
                <a:extLst>
                  <a:ext uri="{FF2B5EF4-FFF2-40B4-BE49-F238E27FC236}">
                    <a16:creationId xmlns:a16="http://schemas.microsoft.com/office/drawing/2014/main" id="{90E0A152-CBF2-9711-9BB8-F5E16173990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3600000">
                <a:off x="7776553" y="4541357"/>
                <a:ext cx="330280" cy="745285"/>
              </a:xfrm>
              <a:prstGeom prst="rect">
                <a:avLst/>
              </a:prstGeom>
            </p:spPr>
          </p:pic>
          <p:pic>
            <p:nvPicPr>
              <p:cNvPr id="20" name="Imagem 19">
                <a:extLst>
                  <a:ext uri="{FF2B5EF4-FFF2-40B4-BE49-F238E27FC236}">
                    <a16:creationId xmlns:a16="http://schemas.microsoft.com/office/drawing/2014/main" id="{75B39556-5BFC-917E-B473-62A45698FF7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8000000">
                <a:off x="7776553" y="3722368"/>
                <a:ext cx="330280" cy="745285"/>
              </a:xfrm>
              <a:prstGeom prst="rect">
                <a:avLst/>
              </a:prstGeom>
            </p:spPr>
          </p:pic>
        </p:grpSp>
        <p:pic>
          <p:nvPicPr>
            <p:cNvPr id="14" name="Imagem 13">
              <a:extLst>
                <a:ext uri="{FF2B5EF4-FFF2-40B4-BE49-F238E27FC236}">
                  <a16:creationId xmlns:a16="http://schemas.microsoft.com/office/drawing/2014/main" id="{C371C56E-CDFA-7951-2A55-8D8780A4BEA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98624" y="4272263"/>
              <a:ext cx="929980" cy="929980"/>
            </a:xfrm>
            <a:prstGeom prst="rect">
              <a:avLst/>
            </a:prstGeom>
          </p:spPr>
        </p:pic>
        <p:pic>
          <p:nvPicPr>
            <p:cNvPr id="15" name="Imagem 14">
              <a:extLst>
                <a:ext uri="{FF2B5EF4-FFF2-40B4-BE49-F238E27FC236}">
                  <a16:creationId xmlns:a16="http://schemas.microsoft.com/office/drawing/2014/main" id="{5FDC05FE-9402-C982-596D-6C9B8F20CA5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36189" y="4283920"/>
              <a:ext cx="929981" cy="929981"/>
            </a:xfrm>
            <a:prstGeom prst="rect">
              <a:avLst/>
            </a:prstGeom>
          </p:spPr>
        </p:pic>
      </p:grpSp>
      <p:grpSp>
        <p:nvGrpSpPr>
          <p:cNvPr id="22" name="Agrupar 21">
            <a:extLst>
              <a:ext uri="{FF2B5EF4-FFF2-40B4-BE49-F238E27FC236}">
                <a16:creationId xmlns:a16="http://schemas.microsoft.com/office/drawing/2014/main" id="{A1FC7D0C-EF99-45CB-25CC-EEA4A2F05F71}"/>
              </a:ext>
            </a:extLst>
          </p:cNvPr>
          <p:cNvGrpSpPr/>
          <p:nvPr/>
        </p:nvGrpSpPr>
        <p:grpSpPr>
          <a:xfrm>
            <a:off x="2861236" y="3951142"/>
            <a:ext cx="1597866" cy="795812"/>
            <a:chOff x="2647068" y="3953347"/>
            <a:chExt cx="2048189" cy="1020094"/>
          </a:xfrm>
        </p:grpSpPr>
        <p:pic>
          <p:nvPicPr>
            <p:cNvPr id="21" name="Gráfico 20">
              <a:extLst>
                <a:ext uri="{FF2B5EF4-FFF2-40B4-BE49-F238E27FC236}">
                  <a16:creationId xmlns:a16="http://schemas.microsoft.com/office/drawing/2014/main" id="{B9EF4080-151F-0A2D-1CD6-09087C10BFE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47068" y="3953347"/>
              <a:ext cx="2048189" cy="1020094"/>
            </a:xfrm>
            <a:prstGeom prst="rect">
              <a:avLst/>
            </a:prstGeom>
          </p:spPr>
        </p:pic>
        <p:pic>
          <p:nvPicPr>
            <p:cNvPr id="1026" name="Picture 2">
              <a:extLst>
                <a:ext uri="{FF2B5EF4-FFF2-40B4-BE49-F238E27FC236}">
                  <a16:creationId xmlns:a16="http://schemas.microsoft.com/office/drawing/2014/main" id="{E96210B8-D554-18AB-C40C-8F6AD201914B}"/>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30912" y="4096937"/>
              <a:ext cx="1271391" cy="741610"/>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Imagem 23">
            <a:extLst>
              <a:ext uri="{FF2B5EF4-FFF2-40B4-BE49-F238E27FC236}">
                <a16:creationId xmlns:a16="http://schemas.microsoft.com/office/drawing/2014/main" id="{27555D89-3EA5-9933-9B36-093DB1D21BA5}"/>
              </a:ext>
            </a:extLst>
          </p:cNvPr>
          <p:cNvPicPr>
            <a:picLocks noChangeAspect="1"/>
          </p:cNvPicPr>
          <p:nvPr/>
        </p:nvPicPr>
        <p:blipFill>
          <a:blip r:embed="rId12"/>
          <a:stretch>
            <a:fillRect/>
          </a:stretch>
        </p:blipFill>
        <p:spPr>
          <a:xfrm>
            <a:off x="949647" y="3773980"/>
            <a:ext cx="1330572" cy="1330572"/>
          </a:xfrm>
          <a:prstGeom prst="rect">
            <a:avLst/>
          </a:prstGeom>
        </p:spPr>
      </p:pic>
      <p:grpSp>
        <p:nvGrpSpPr>
          <p:cNvPr id="45" name="Agrupar 44">
            <a:extLst>
              <a:ext uri="{FF2B5EF4-FFF2-40B4-BE49-F238E27FC236}">
                <a16:creationId xmlns:a16="http://schemas.microsoft.com/office/drawing/2014/main" id="{7D1D5A75-1672-B9BB-91D4-2D7ED5260F26}"/>
              </a:ext>
            </a:extLst>
          </p:cNvPr>
          <p:cNvGrpSpPr/>
          <p:nvPr/>
        </p:nvGrpSpPr>
        <p:grpSpPr>
          <a:xfrm>
            <a:off x="5205294" y="3442044"/>
            <a:ext cx="1951514" cy="518270"/>
            <a:chOff x="5205294" y="3840480"/>
            <a:chExt cx="1951514" cy="518270"/>
          </a:xfrm>
        </p:grpSpPr>
        <p:grpSp>
          <p:nvGrpSpPr>
            <p:cNvPr id="32" name="Agrupar 31">
              <a:extLst>
                <a:ext uri="{FF2B5EF4-FFF2-40B4-BE49-F238E27FC236}">
                  <a16:creationId xmlns:a16="http://schemas.microsoft.com/office/drawing/2014/main" id="{D3552D0F-DAFE-E32C-E729-79B7E2A65968}"/>
                </a:ext>
              </a:extLst>
            </p:cNvPr>
            <p:cNvGrpSpPr/>
            <p:nvPr/>
          </p:nvGrpSpPr>
          <p:grpSpPr>
            <a:xfrm>
              <a:off x="5660748" y="3840480"/>
              <a:ext cx="1040605" cy="518270"/>
              <a:chOff x="2647068" y="3953347"/>
              <a:chExt cx="2048189" cy="1020094"/>
            </a:xfrm>
          </p:grpSpPr>
          <p:pic>
            <p:nvPicPr>
              <p:cNvPr id="33" name="Gráfico 32">
                <a:extLst>
                  <a:ext uri="{FF2B5EF4-FFF2-40B4-BE49-F238E27FC236}">
                    <a16:creationId xmlns:a16="http://schemas.microsoft.com/office/drawing/2014/main" id="{B5FE678D-FD6A-026D-9F4D-97B633DEDF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47068" y="3953347"/>
                <a:ext cx="2048189" cy="1020094"/>
              </a:xfrm>
              <a:prstGeom prst="rect">
                <a:avLst/>
              </a:prstGeom>
            </p:spPr>
          </p:pic>
          <p:pic>
            <p:nvPicPr>
              <p:cNvPr id="34" name="Picture 2">
                <a:extLst>
                  <a:ext uri="{FF2B5EF4-FFF2-40B4-BE49-F238E27FC236}">
                    <a16:creationId xmlns:a16="http://schemas.microsoft.com/office/drawing/2014/main" id="{A5EAF0AE-C8A2-6976-0709-6F125776E0C3}"/>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30912" y="4096937"/>
                <a:ext cx="1271391" cy="741610"/>
              </a:xfrm>
              <a:prstGeom prst="rect">
                <a:avLst/>
              </a:prstGeom>
              <a:noFill/>
              <a:extLst>
                <a:ext uri="{909E8E84-426E-40DD-AFC4-6F175D3DCCD1}">
                  <a14:hiddenFill xmlns:a14="http://schemas.microsoft.com/office/drawing/2010/main">
                    <a:solidFill>
                      <a:srgbClr val="FFFFFF"/>
                    </a:solidFill>
                  </a14:hiddenFill>
                </a:ext>
              </a:extLst>
            </p:spPr>
          </p:pic>
        </p:grpSp>
        <p:pic>
          <p:nvPicPr>
            <p:cNvPr id="27" name="Imagem 26">
              <a:extLst>
                <a:ext uri="{FF2B5EF4-FFF2-40B4-BE49-F238E27FC236}">
                  <a16:creationId xmlns:a16="http://schemas.microsoft.com/office/drawing/2014/main" id="{0B5BB691-22E7-839A-1E7C-DFA78D90A633}"/>
                </a:ext>
              </a:extLst>
            </p:cNvPr>
            <p:cNvPicPr>
              <a:picLocks noChangeAspect="1"/>
            </p:cNvPicPr>
            <p:nvPr/>
          </p:nvPicPr>
          <p:blipFill>
            <a:blip r:embed="rId13"/>
            <a:stretch>
              <a:fillRect/>
            </a:stretch>
          </p:blipFill>
          <p:spPr>
            <a:xfrm rot="5400000">
              <a:off x="5205295" y="3972872"/>
              <a:ext cx="357944" cy="357945"/>
            </a:xfrm>
            <a:prstGeom prst="rect">
              <a:avLst/>
            </a:prstGeom>
          </p:spPr>
        </p:pic>
        <p:pic>
          <p:nvPicPr>
            <p:cNvPr id="38" name="Imagem 37">
              <a:extLst>
                <a:ext uri="{FF2B5EF4-FFF2-40B4-BE49-F238E27FC236}">
                  <a16:creationId xmlns:a16="http://schemas.microsoft.com/office/drawing/2014/main" id="{7E367ABD-009C-E127-3DB4-C4DFED54315D}"/>
                </a:ext>
              </a:extLst>
            </p:cNvPr>
            <p:cNvPicPr>
              <a:picLocks noChangeAspect="1"/>
            </p:cNvPicPr>
            <p:nvPr/>
          </p:nvPicPr>
          <p:blipFill>
            <a:blip r:embed="rId13"/>
            <a:stretch>
              <a:fillRect/>
            </a:stretch>
          </p:blipFill>
          <p:spPr>
            <a:xfrm rot="16200000">
              <a:off x="6798863" y="3991922"/>
              <a:ext cx="357943" cy="357946"/>
            </a:xfrm>
            <a:prstGeom prst="rect">
              <a:avLst/>
            </a:prstGeom>
          </p:spPr>
        </p:pic>
      </p:grpSp>
      <p:grpSp>
        <p:nvGrpSpPr>
          <p:cNvPr id="39" name="Agrupar 38">
            <a:extLst>
              <a:ext uri="{FF2B5EF4-FFF2-40B4-BE49-F238E27FC236}">
                <a16:creationId xmlns:a16="http://schemas.microsoft.com/office/drawing/2014/main" id="{D1551523-2026-B5BA-D2F3-C9778A38F7CD}"/>
              </a:ext>
            </a:extLst>
          </p:cNvPr>
          <p:cNvGrpSpPr/>
          <p:nvPr/>
        </p:nvGrpSpPr>
        <p:grpSpPr>
          <a:xfrm>
            <a:off x="7632549" y="3364804"/>
            <a:ext cx="926348" cy="878479"/>
            <a:chOff x="7886703" y="3680460"/>
            <a:chExt cx="926348" cy="878479"/>
          </a:xfrm>
        </p:grpSpPr>
        <p:pic>
          <p:nvPicPr>
            <p:cNvPr id="40" name="Imagem 39">
              <a:extLst>
                <a:ext uri="{FF2B5EF4-FFF2-40B4-BE49-F238E27FC236}">
                  <a16:creationId xmlns:a16="http://schemas.microsoft.com/office/drawing/2014/main" id="{ABB9D69C-17E2-F768-6982-4B98E87BDBC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86703" y="3680460"/>
              <a:ext cx="747683" cy="747683"/>
            </a:xfrm>
            <a:prstGeom prst="rect">
              <a:avLst/>
            </a:prstGeom>
          </p:spPr>
        </p:pic>
        <p:pic>
          <p:nvPicPr>
            <p:cNvPr id="43" name="Picture 2">
              <a:extLst>
                <a:ext uri="{FF2B5EF4-FFF2-40B4-BE49-F238E27FC236}">
                  <a16:creationId xmlns:a16="http://schemas.microsoft.com/office/drawing/2014/main" id="{762492C0-85BB-A45F-7D61-CFF447B34730}"/>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67107" y="4182156"/>
              <a:ext cx="645944" cy="3767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3" name="Agrupar 1032">
            <a:extLst>
              <a:ext uri="{FF2B5EF4-FFF2-40B4-BE49-F238E27FC236}">
                <a16:creationId xmlns:a16="http://schemas.microsoft.com/office/drawing/2014/main" id="{54442C32-E7C2-10C7-32E2-F6BF9E765997}"/>
              </a:ext>
            </a:extLst>
          </p:cNvPr>
          <p:cNvGrpSpPr/>
          <p:nvPr/>
        </p:nvGrpSpPr>
        <p:grpSpPr>
          <a:xfrm>
            <a:off x="6195828" y="4442581"/>
            <a:ext cx="1814140" cy="1509401"/>
            <a:chOff x="6081787" y="4268551"/>
            <a:chExt cx="2088683" cy="1737826"/>
          </a:xfrm>
        </p:grpSpPr>
        <p:pic>
          <p:nvPicPr>
            <p:cNvPr id="44" name="Imagem 43">
              <a:extLst>
                <a:ext uri="{FF2B5EF4-FFF2-40B4-BE49-F238E27FC236}">
                  <a16:creationId xmlns:a16="http://schemas.microsoft.com/office/drawing/2014/main" id="{09CE2D41-0D93-BDC2-EB46-0C955191A983}"/>
                </a:ext>
              </a:extLst>
            </p:cNvPr>
            <p:cNvPicPr>
              <a:picLocks noChangeAspect="1"/>
            </p:cNvPicPr>
            <p:nvPr/>
          </p:nvPicPr>
          <p:blipFill>
            <a:blip r:embed="rId14"/>
            <a:stretch>
              <a:fillRect/>
            </a:stretch>
          </p:blipFill>
          <p:spPr>
            <a:xfrm rot="16200000">
              <a:off x="6916712" y="4942148"/>
              <a:ext cx="457501" cy="457501"/>
            </a:xfrm>
            <a:prstGeom prst="rect">
              <a:avLst/>
            </a:prstGeom>
          </p:spPr>
        </p:pic>
        <p:grpSp>
          <p:nvGrpSpPr>
            <p:cNvPr id="46" name="Agrupar 45">
              <a:extLst>
                <a:ext uri="{FF2B5EF4-FFF2-40B4-BE49-F238E27FC236}">
                  <a16:creationId xmlns:a16="http://schemas.microsoft.com/office/drawing/2014/main" id="{38A8D031-10A5-79E0-8819-FFCA124C49CD}"/>
                </a:ext>
              </a:extLst>
            </p:cNvPr>
            <p:cNvGrpSpPr/>
            <p:nvPr/>
          </p:nvGrpSpPr>
          <p:grpSpPr>
            <a:xfrm>
              <a:off x="6288502" y="4268551"/>
              <a:ext cx="1664458" cy="767576"/>
              <a:chOff x="6577688" y="4232948"/>
              <a:chExt cx="1086086" cy="500856"/>
            </a:xfrm>
          </p:grpSpPr>
          <p:pic>
            <p:nvPicPr>
              <p:cNvPr id="48" name="Imagem 47">
                <a:extLst>
                  <a:ext uri="{FF2B5EF4-FFF2-40B4-BE49-F238E27FC236}">
                    <a16:creationId xmlns:a16="http://schemas.microsoft.com/office/drawing/2014/main" id="{93A3F8C3-CE9F-2680-37B3-E82F40E2FB2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9306" b="28194"/>
              <a:stretch/>
            </p:blipFill>
            <p:spPr>
              <a:xfrm>
                <a:off x="6678515" y="4298092"/>
                <a:ext cx="848767" cy="360727"/>
              </a:xfrm>
              <a:prstGeom prst="rect">
                <a:avLst/>
              </a:prstGeom>
            </p:spPr>
          </p:pic>
          <p:pic>
            <p:nvPicPr>
              <p:cNvPr id="49" name="Imagem 48">
                <a:extLst>
                  <a:ext uri="{FF2B5EF4-FFF2-40B4-BE49-F238E27FC236}">
                    <a16:creationId xmlns:a16="http://schemas.microsoft.com/office/drawing/2014/main" id="{446ED3D0-1B48-34D1-2392-E5490B98AE1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7200000">
                <a:off x="6668118" y="4499437"/>
                <a:ext cx="143937" cy="324797"/>
              </a:xfrm>
              <a:prstGeom prst="rect">
                <a:avLst/>
              </a:prstGeom>
            </p:spPr>
          </p:pic>
          <p:pic>
            <p:nvPicPr>
              <p:cNvPr id="50" name="Imagem 49">
                <a:extLst>
                  <a:ext uri="{FF2B5EF4-FFF2-40B4-BE49-F238E27FC236}">
                    <a16:creationId xmlns:a16="http://schemas.microsoft.com/office/drawing/2014/main" id="{5947A405-2300-85CC-BAB9-699DECC762B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4400000">
                <a:off x="6668119" y="4142519"/>
                <a:ext cx="143937" cy="324797"/>
              </a:xfrm>
              <a:prstGeom prst="rect">
                <a:avLst/>
              </a:prstGeom>
            </p:spPr>
          </p:pic>
          <p:pic>
            <p:nvPicPr>
              <p:cNvPr id="51" name="Imagem 50">
                <a:extLst>
                  <a:ext uri="{FF2B5EF4-FFF2-40B4-BE49-F238E27FC236}">
                    <a16:creationId xmlns:a16="http://schemas.microsoft.com/office/drawing/2014/main" id="{95744893-4BFB-F88F-7DDB-47EE96D169D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3600000">
                <a:off x="7429407" y="4499436"/>
                <a:ext cx="143937" cy="324797"/>
              </a:xfrm>
              <a:prstGeom prst="rect">
                <a:avLst/>
              </a:prstGeom>
            </p:spPr>
          </p:pic>
          <p:pic>
            <p:nvPicPr>
              <p:cNvPr id="52" name="Imagem 51">
                <a:extLst>
                  <a:ext uri="{FF2B5EF4-FFF2-40B4-BE49-F238E27FC236}">
                    <a16:creationId xmlns:a16="http://schemas.microsoft.com/office/drawing/2014/main" id="{C551B4A8-608C-DD96-D558-6882DEEE182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8000000">
                <a:off x="7429407" y="4142518"/>
                <a:ext cx="143937" cy="324797"/>
              </a:xfrm>
              <a:prstGeom prst="rect">
                <a:avLst/>
              </a:prstGeom>
            </p:spPr>
          </p:pic>
        </p:grpSp>
        <p:pic>
          <p:nvPicPr>
            <p:cNvPr id="57" name="Imagem 56">
              <a:extLst>
                <a:ext uri="{FF2B5EF4-FFF2-40B4-BE49-F238E27FC236}">
                  <a16:creationId xmlns:a16="http://schemas.microsoft.com/office/drawing/2014/main" id="{7103518B-E84C-C45E-E74A-78FE15341F5C}"/>
                </a:ext>
              </a:extLst>
            </p:cNvPr>
            <p:cNvPicPr>
              <a:picLocks noChangeAspect="1"/>
            </p:cNvPicPr>
            <p:nvPr/>
          </p:nvPicPr>
          <p:blipFill>
            <a:blip r:embed="rId15"/>
            <a:stretch>
              <a:fillRect/>
            </a:stretch>
          </p:blipFill>
          <p:spPr>
            <a:xfrm>
              <a:off x="6603233" y="5475058"/>
              <a:ext cx="524345" cy="524345"/>
            </a:xfrm>
            <a:prstGeom prst="rect">
              <a:avLst/>
            </a:prstGeom>
          </p:spPr>
        </p:pic>
        <p:pic>
          <p:nvPicPr>
            <p:cNvPr id="58" name="Imagem 57">
              <a:extLst>
                <a:ext uri="{FF2B5EF4-FFF2-40B4-BE49-F238E27FC236}">
                  <a16:creationId xmlns:a16="http://schemas.microsoft.com/office/drawing/2014/main" id="{5AEF1A3A-6155-281E-C34D-659FB46AC237}"/>
                </a:ext>
              </a:extLst>
            </p:cNvPr>
            <p:cNvPicPr>
              <a:picLocks noChangeAspect="1"/>
            </p:cNvPicPr>
            <p:nvPr/>
          </p:nvPicPr>
          <p:blipFill>
            <a:blip r:embed="rId15"/>
            <a:stretch>
              <a:fillRect/>
            </a:stretch>
          </p:blipFill>
          <p:spPr>
            <a:xfrm>
              <a:off x="6081787" y="5482032"/>
              <a:ext cx="524345" cy="524345"/>
            </a:xfrm>
            <a:prstGeom prst="rect">
              <a:avLst/>
            </a:prstGeom>
          </p:spPr>
        </p:pic>
        <p:pic>
          <p:nvPicPr>
            <p:cNvPr id="59" name="Imagem 58">
              <a:extLst>
                <a:ext uri="{FF2B5EF4-FFF2-40B4-BE49-F238E27FC236}">
                  <a16:creationId xmlns:a16="http://schemas.microsoft.com/office/drawing/2014/main" id="{2A89B50B-1ABD-84DD-48DB-0FE7345EC7AF}"/>
                </a:ext>
              </a:extLst>
            </p:cNvPr>
            <p:cNvPicPr>
              <a:picLocks noChangeAspect="1"/>
            </p:cNvPicPr>
            <p:nvPr/>
          </p:nvPicPr>
          <p:blipFill>
            <a:blip r:embed="rId15"/>
            <a:stretch>
              <a:fillRect/>
            </a:stretch>
          </p:blipFill>
          <p:spPr>
            <a:xfrm>
              <a:off x="7646125" y="5475058"/>
              <a:ext cx="524345" cy="524345"/>
            </a:xfrm>
            <a:prstGeom prst="rect">
              <a:avLst/>
            </a:prstGeom>
          </p:spPr>
        </p:pic>
        <p:pic>
          <p:nvPicPr>
            <p:cNvPr id="60" name="Imagem 59">
              <a:extLst>
                <a:ext uri="{FF2B5EF4-FFF2-40B4-BE49-F238E27FC236}">
                  <a16:creationId xmlns:a16="http://schemas.microsoft.com/office/drawing/2014/main" id="{EAAA3E92-554D-8614-AE5E-264E518635F4}"/>
                </a:ext>
              </a:extLst>
            </p:cNvPr>
            <p:cNvPicPr>
              <a:picLocks noChangeAspect="1"/>
            </p:cNvPicPr>
            <p:nvPr/>
          </p:nvPicPr>
          <p:blipFill>
            <a:blip r:embed="rId15"/>
            <a:stretch>
              <a:fillRect/>
            </a:stretch>
          </p:blipFill>
          <p:spPr>
            <a:xfrm>
              <a:off x="7124679" y="5475058"/>
              <a:ext cx="524345" cy="524345"/>
            </a:xfrm>
            <a:prstGeom prst="rect">
              <a:avLst/>
            </a:prstGeom>
          </p:spPr>
        </p:pic>
        <p:grpSp>
          <p:nvGrpSpPr>
            <p:cNvPr id="1030" name="Agrupar 1029">
              <a:extLst>
                <a:ext uri="{FF2B5EF4-FFF2-40B4-BE49-F238E27FC236}">
                  <a16:creationId xmlns:a16="http://schemas.microsoft.com/office/drawing/2014/main" id="{4A3A86EE-DE76-7D1C-3264-1D3B7156A6B4}"/>
                </a:ext>
              </a:extLst>
            </p:cNvPr>
            <p:cNvGrpSpPr/>
            <p:nvPr/>
          </p:nvGrpSpPr>
          <p:grpSpPr>
            <a:xfrm>
              <a:off x="6338888" y="5255244"/>
              <a:ext cx="611982" cy="425004"/>
              <a:chOff x="6338888" y="5255244"/>
              <a:chExt cx="611982" cy="425004"/>
            </a:xfrm>
          </p:grpSpPr>
          <p:cxnSp>
            <p:nvCxnSpPr>
              <p:cNvPr id="55" name="Conector reto 54">
                <a:extLst>
                  <a:ext uri="{FF2B5EF4-FFF2-40B4-BE49-F238E27FC236}">
                    <a16:creationId xmlns:a16="http://schemas.microsoft.com/office/drawing/2014/main" id="{F39C3D88-D606-F27B-5E0F-082ED5199F11}"/>
                  </a:ext>
                </a:extLst>
              </p:cNvPr>
              <p:cNvCxnSpPr>
                <a:cxnSpLocks/>
              </p:cNvCxnSpPr>
              <p:nvPr/>
            </p:nvCxnSpPr>
            <p:spPr>
              <a:xfrm flipH="1">
                <a:off x="6338888" y="5257450"/>
                <a:ext cx="611982" cy="0"/>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Conector reto 68">
                <a:extLst>
                  <a:ext uri="{FF2B5EF4-FFF2-40B4-BE49-F238E27FC236}">
                    <a16:creationId xmlns:a16="http://schemas.microsoft.com/office/drawing/2014/main" id="{406413B5-59A5-10E9-914E-D82BE36C06BB}"/>
                  </a:ext>
                </a:extLst>
              </p:cNvPr>
              <p:cNvCxnSpPr>
                <a:cxnSpLocks/>
              </p:cNvCxnSpPr>
              <p:nvPr/>
            </p:nvCxnSpPr>
            <p:spPr>
              <a:xfrm>
                <a:off x="6343959" y="5255244"/>
                <a:ext cx="0" cy="425004"/>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3" name="Agrupar 72">
              <a:extLst>
                <a:ext uri="{FF2B5EF4-FFF2-40B4-BE49-F238E27FC236}">
                  <a16:creationId xmlns:a16="http://schemas.microsoft.com/office/drawing/2014/main" id="{3CBE171A-D7B8-A35A-E29B-15F0F86839C0}"/>
                </a:ext>
              </a:extLst>
            </p:cNvPr>
            <p:cNvGrpSpPr/>
            <p:nvPr/>
          </p:nvGrpSpPr>
          <p:grpSpPr>
            <a:xfrm flipH="1">
              <a:off x="7300925" y="5255244"/>
              <a:ext cx="611982" cy="425004"/>
              <a:chOff x="6338888" y="5255244"/>
              <a:chExt cx="611982" cy="425004"/>
            </a:xfrm>
          </p:grpSpPr>
          <p:cxnSp>
            <p:nvCxnSpPr>
              <p:cNvPr id="74" name="Conector reto 73">
                <a:extLst>
                  <a:ext uri="{FF2B5EF4-FFF2-40B4-BE49-F238E27FC236}">
                    <a16:creationId xmlns:a16="http://schemas.microsoft.com/office/drawing/2014/main" id="{05346CBF-EBE0-6E13-18D9-B76DA8509034}"/>
                  </a:ext>
                </a:extLst>
              </p:cNvPr>
              <p:cNvCxnSpPr>
                <a:cxnSpLocks/>
              </p:cNvCxnSpPr>
              <p:nvPr/>
            </p:nvCxnSpPr>
            <p:spPr>
              <a:xfrm flipH="1">
                <a:off x="6338888" y="5257450"/>
                <a:ext cx="611982" cy="0"/>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Conector reto 74">
                <a:extLst>
                  <a:ext uri="{FF2B5EF4-FFF2-40B4-BE49-F238E27FC236}">
                    <a16:creationId xmlns:a16="http://schemas.microsoft.com/office/drawing/2014/main" id="{CBD45C3B-8868-E333-DAC4-933AF4121B37}"/>
                  </a:ext>
                </a:extLst>
              </p:cNvPr>
              <p:cNvCxnSpPr>
                <a:cxnSpLocks/>
              </p:cNvCxnSpPr>
              <p:nvPr/>
            </p:nvCxnSpPr>
            <p:spPr>
              <a:xfrm>
                <a:off x="6343959" y="5255244"/>
                <a:ext cx="0" cy="425004"/>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6" name="Agrupar 75">
              <a:extLst>
                <a:ext uri="{FF2B5EF4-FFF2-40B4-BE49-F238E27FC236}">
                  <a16:creationId xmlns:a16="http://schemas.microsoft.com/office/drawing/2014/main" id="{590A523D-7F43-43B4-0C03-36E7AE67FBC3}"/>
                </a:ext>
              </a:extLst>
            </p:cNvPr>
            <p:cNvGrpSpPr/>
            <p:nvPr/>
          </p:nvGrpSpPr>
          <p:grpSpPr>
            <a:xfrm>
              <a:off x="6860385" y="5338587"/>
              <a:ext cx="117449" cy="341661"/>
              <a:chOff x="6338888" y="5255244"/>
              <a:chExt cx="117449" cy="341661"/>
            </a:xfrm>
          </p:grpSpPr>
          <p:cxnSp>
            <p:nvCxnSpPr>
              <p:cNvPr id="77" name="Conector reto 76">
                <a:extLst>
                  <a:ext uri="{FF2B5EF4-FFF2-40B4-BE49-F238E27FC236}">
                    <a16:creationId xmlns:a16="http://schemas.microsoft.com/office/drawing/2014/main" id="{CAD36578-C3CB-9A3F-F05D-04EE3690F69B}"/>
                  </a:ext>
                </a:extLst>
              </p:cNvPr>
              <p:cNvCxnSpPr>
                <a:cxnSpLocks/>
              </p:cNvCxnSpPr>
              <p:nvPr/>
            </p:nvCxnSpPr>
            <p:spPr>
              <a:xfrm flipH="1">
                <a:off x="6338888" y="5257450"/>
                <a:ext cx="117449" cy="0"/>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Conector reto 77">
                <a:extLst>
                  <a:ext uri="{FF2B5EF4-FFF2-40B4-BE49-F238E27FC236}">
                    <a16:creationId xmlns:a16="http://schemas.microsoft.com/office/drawing/2014/main" id="{FFDEC5B3-7040-D47C-926E-9E8EC2B87D2F}"/>
                  </a:ext>
                </a:extLst>
              </p:cNvPr>
              <p:cNvCxnSpPr>
                <a:cxnSpLocks/>
              </p:cNvCxnSpPr>
              <p:nvPr/>
            </p:nvCxnSpPr>
            <p:spPr>
              <a:xfrm>
                <a:off x="6343959" y="5255244"/>
                <a:ext cx="0" cy="341661"/>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1" name="Agrupar 80">
              <a:extLst>
                <a:ext uri="{FF2B5EF4-FFF2-40B4-BE49-F238E27FC236}">
                  <a16:creationId xmlns:a16="http://schemas.microsoft.com/office/drawing/2014/main" id="{CD18D4B3-8A94-C541-47B6-95FAF2CF054A}"/>
                </a:ext>
              </a:extLst>
            </p:cNvPr>
            <p:cNvGrpSpPr/>
            <p:nvPr/>
          </p:nvGrpSpPr>
          <p:grpSpPr>
            <a:xfrm flipH="1">
              <a:off x="7277108" y="5338587"/>
              <a:ext cx="117449" cy="341661"/>
              <a:chOff x="6338888" y="5255244"/>
              <a:chExt cx="117449" cy="341661"/>
            </a:xfrm>
          </p:grpSpPr>
          <p:cxnSp>
            <p:nvCxnSpPr>
              <p:cNvPr id="82" name="Conector reto 81">
                <a:extLst>
                  <a:ext uri="{FF2B5EF4-FFF2-40B4-BE49-F238E27FC236}">
                    <a16:creationId xmlns:a16="http://schemas.microsoft.com/office/drawing/2014/main" id="{62874766-6C37-59E5-59D9-ABDC5E9D5680}"/>
                  </a:ext>
                </a:extLst>
              </p:cNvPr>
              <p:cNvCxnSpPr>
                <a:cxnSpLocks/>
              </p:cNvCxnSpPr>
              <p:nvPr/>
            </p:nvCxnSpPr>
            <p:spPr>
              <a:xfrm flipH="1">
                <a:off x="6338888" y="5257450"/>
                <a:ext cx="117449" cy="0"/>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Conector reto 82">
                <a:extLst>
                  <a:ext uri="{FF2B5EF4-FFF2-40B4-BE49-F238E27FC236}">
                    <a16:creationId xmlns:a16="http://schemas.microsoft.com/office/drawing/2014/main" id="{89239C9C-78B8-5535-C35A-10F4E5CFD5B7}"/>
                  </a:ext>
                </a:extLst>
              </p:cNvPr>
              <p:cNvCxnSpPr>
                <a:cxnSpLocks/>
              </p:cNvCxnSpPr>
              <p:nvPr/>
            </p:nvCxnSpPr>
            <p:spPr>
              <a:xfrm>
                <a:off x="6343959" y="5255244"/>
                <a:ext cx="0" cy="341661"/>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62" name="Retângulo 33">
            <a:extLst>
              <a:ext uri="{FF2B5EF4-FFF2-40B4-BE49-F238E27FC236}">
                <a16:creationId xmlns:a16="http://schemas.microsoft.com/office/drawing/2014/main" id="{EDEAD704-B320-20C8-BF1D-091018F6FE0D}"/>
              </a:ext>
            </a:extLst>
          </p:cNvPr>
          <p:cNvSpPr/>
          <p:nvPr/>
        </p:nvSpPr>
        <p:spPr>
          <a:xfrm flipH="1">
            <a:off x="334949" y="1876424"/>
            <a:ext cx="4655790" cy="4276725"/>
          </a:xfrm>
          <a:custGeom>
            <a:avLst/>
            <a:gdLst>
              <a:gd name="connsiteX0" fmla="*/ 0 w 4655790"/>
              <a:gd name="connsiteY0" fmla="*/ 0 h 4273406"/>
              <a:gd name="connsiteX1" fmla="*/ 4655790 w 4655790"/>
              <a:gd name="connsiteY1" fmla="*/ 0 h 4273406"/>
              <a:gd name="connsiteX2" fmla="*/ 4655790 w 4655790"/>
              <a:gd name="connsiteY2" fmla="*/ 4273406 h 4273406"/>
              <a:gd name="connsiteX3" fmla="*/ 0 w 4655790"/>
              <a:gd name="connsiteY3" fmla="*/ 4273406 h 4273406"/>
              <a:gd name="connsiteX4" fmla="*/ 0 w 4655790"/>
              <a:gd name="connsiteY4" fmla="*/ 0 h 4273406"/>
              <a:gd name="connsiteX0" fmla="*/ 9525 w 4655790"/>
              <a:gd name="connsiteY0" fmla="*/ 457200 h 4273406"/>
              <a:gd name="connsiteX1" fmla="*/ 4655790 w 4655790"/>
              <a:gd name="connsiteY1" fmla="*/ 0 h 4273406"/>
              <a:gd name="connsiteX2" fmla="*/ 4655790 w 4655790"/>
              <a:gd name="connsiteY2" fmla="*/ 4273406 h 4273406"/>
              <a:gd name="connsiteX3" fmla="*/ 0 w 4655790"/>
              <a:gd name="connsiteY3" fmla="*/ 4273406 h 4273406"/>
              <a:gd name="connsiteX4" fmla="*/ 9525 w 4655790"/>
              <a:gd name="connsiteY4" fmla="*/ 457200 h 4273406"/>
              <a:gd name="connsiteX0" fmla="*/ 9525 w 4655790"/>
              <a:gd name="connsiteY0" fmla="*/ 457200 h 4273406"/>
              <a:gd name="connsiteX1" fmla="*/ 834293 w 4655790"/>
              <a:gd name="connsiteY1" fmla="*/ 463406 h 4273406"/>
              <a:gd name="connsiteX2" fmla="*/ 4655790 w 4655790"/>
              <a:gd name="connsiteY2" fmla="*/ 0 h 4273406"/>
              <a:gd name="connsiteX3" fmla="*/ 4655790 w 4655790"/>
              <a:gd name="connsiteY3" fmla="*/ 4273406 h 4273406"/>
              <a:gd name="connsiteX4" fmla="*/ 0 w 4655790"/>
              <a:gd name="connsiteY4" fmla="*/ 4273406 h 4273406"/>
              <a:gd name="connsiteX5" fmla="*/ 9525 w 4655790"/>
              <a:gd name="connsiteY5"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05718 w 4655790"/>
              <a:gd name="connsiteY2" fmla="*/ 25256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57200 h 4273406"/>
              <a:gd name="connsiteX1" fmla="*/ 834293 w 4655790"/>
              <a:gd name="connsiteY1" fmla="*/ 463406 h 4273406"/>
              <a:gd name="connsiteX2" fmla="*/ 843818 w 4655790"/>
              <a:gd name="connsiteY2" fmla="*/ 15731 h 4273406"/>
              <a:gd name="connsiteX3" fmla="*/ 4655790 w 4655790"/>
              <a:gd name="connsiteY3" fmla="*/ 0 h 4273406"/>
              <a:gd name="connsiteX4" fmla="*/ 4655790 w 4655790"/>
              <a:gd name="connsiteY4" fmla="*/ 4273406 h 4273406"/>
              <a:gd name="connsiteX5" fmla="*/ 0 w 4655790"/>
              <a:gd name="connsiteY5" fmla="*/ 4273406 h 4273406"/>
              <a:gd name="connsiteX6" fmla="*/ 9525 w 4655790"/>
              <a:gd name="connsiteY6" fmla="*/ 457200 h 4273406"/>
              <a:gd name="connsiteX0" fmla="*/ 9525 w 4655790"/>
              <a:gd name="connsiteY0" fmla="*/ 460519 h 4276725"/>
              <a:gd name="connsiteX1" fmla="*/ 834293 w 4655790"/>
              <a:gd name="connsiteY1" fmla="*/ 466725 h 4276725"/>
              <a:gd name="connsiteX2" fmla="*/ 1158143 w 4655790"/>
              <a:gd name="connsiteY2" fmla="*/ 0 h 4276725"/>
              <a:gd name="connsiteX3" fmla="*/ 4655790 w 4655790"/>
              <a:gd name="connsiteY3" fmla="*/ 3319 h 4276725"/>
              <a:gd name="connsiteX4" fmla="*/ 4655790 w 4655790"/>
              <a:gd name="connsiteY4" fmla="*/ 4276725 h 4276725"/>
              <a:gd name="connsiteX5" fmla="*/ 0 w 4655790"/>
              <a:gd name="connsiteY5" fmla="*/ 4276725 h 4276725"/>
              <a:gd name="connsiteX6" fmla="*/ 9525 w 4655790"/>
              <a:gd name="connsiteY6" fmla="*/ 460519 h 4276725"/>
              <a:gd name="connsiteX0" fmla="*/ 9525 w 4655790"/>
              <a:gd name="connsiteY0" fmla="*/ 460519 h 4276725"/>
              <a:gd name="connsiteX1" fmla="*/ 1158143 w 4655790"/>
              <a:gd name="connsiteY1" fmla="*/ 457200 h 4276725"/>
              <a:gd name="connsiteX2" fmla="*/ 1158143 w 4655790"/>
              <a:gd name="connsiteY2" fmla="*/ 0 h 4276725"/>
              <a:gd name="connsiteX3" fmla="*/ 4655790 w 4655790"/>
              <a:gd name="connsiteY3" fmla="*/ 3319 h 4276725"/>
              <a:gd name="connsiteX4" fmla="*/ 4655790 w 4655790"/>
              <a:gd name="connsiteY4" fmla="*/ 4276725 h 4276725"/>
              <a:gd name="connsiteX5" fmla="*/ 0 w 4655790"/>
              <a:gd name="connsiteY5" fmla="*/ 4276725 h 4276725"/>
              <a:gd name="connsiteX6" fmla="*/ 9525 w 4655790"/>
              <a:gd name="connsiteY6" fmla="*/ 460519 h 427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5790" h="4276725">
                <a:moveTo>
                  <a:pt x="9525" y="460519"/>
                </a:moveTo>
                <a:lnTo>
                  <a:pt x="1158143" y="457200"/>
                </a:lnTo>
                <a:lnTo>
                  <a:pt x="1158143" y="0"/>
                </a:lnTo>
                <a:lnTo>
                  <a:pt x="4655790" y="3319"/>
                </a:lnTo>
                <a:lnTo>
                  <a:pt x="4655790" y="4276725"/>
                </a:lnTo>
                <a:lnTo>
                  <a:pt x="0" y="4276725"/>
                </a:lnTo>
                <a:lnTo>
                  <a:pt x="9525" y="460519"/>
                </a:lnTo>
                <a:close/>
              </a:path>
            </a:pathLst>
          </a:cu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Tree>
    <p:extLst>
      <p:ext uri="{BB962C8B-B14F-4D97-AF65-F5344CB8AC3E}">
        <p14:creationId xmlns:p14="http://schemas.microsoft.com/office/powerpoint/2010/main" val="12580856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71" name="Agrupar 70">
            <a:extLst>
              <a:ext uri="{FF2B5EF4-FFF2-40B4-BE49-F238E27FC236}">
                <a16:creationId xmlns:a16="http://schemas.microsoft.com/office/drawing/2014/main" id="{F510CBC9-EE32-1C67-67B1-E0751D526B53}"/>
              </a:ext>
            </a:extLst>
          </p:cNvPr>
          <p:cNvGrpSpPr/>
          <p:nvPr/>
        </p:nvGrpSpPr>
        <p:grpSpPr>
          <a:xfrm>
            <a:off x="348421" y="791999"/>
            <a:ext cx="9043199" cy="1626736"/>
            <a:chOff x="348421" y="791999"/>
            <a:chExt cx="9043199" cy="1626736"/>
          </a:xfrm>
        </p:grpSpPr>
        <p:sp>
          <p:nvSpPr>
            <p:cNvPr id="72" name="Retângulo 71">
              <a:extLst>
                <a:ext uri="{FF2B5EF4-FFF2-40B4-BE49-F238E27FC236}">
                  <a16:creationId xmlns:a16="http://schemas.microsoft.com/office/drawing/2014/main" id="{0ABE85BA-AFF1-BF16-7BD3-657D94273BE9}"/>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73" name="Imagem 72">
              <a:extLst>
                <a:ext uri="{FF2B5EF4-FFF2-40B4-BE49-F238E27FC236}">
                  <a16:creationId xmlns:a16="http://schemas.microsoft.com/office/drawing/2014/main" id="{DD2A3245-0BD4-69E8-58F6-83AD2C4B94C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94045" y="927951"/>
              <a:ext cx="7711536" cy="1360486"/>
            </a:xfrm>
            <a:prstGeom prst="rect">
              <a:avLst/>
            </a:prstGeom>
          </p:spPr>
        </p:pic>
        <p:sp>
          <p:nvSpPr>
            <p:cNvPr id="74" name="Retângulo 73">
              <a:extLst>
                <a:ext uri="{FF2B5EF4-FFF2-40B4-BE49-F238E27FC236}">
                  <a16:creationId xmlns:a16="http://schemas.microsoft.com/office/drawing/2014/main" id="{F027AF00-3B51-B81E-6AE9-10C6AB9C8EFE}"/>
                </a:ext>
              </a:extLst>
            </p:cNvPr>
            <p:cNvSpPr/>
            <p:nvPr/>
          </p:nvSpPr>
          <p:spPr>
            <a:xfrm>
              <a:off x="348421" y="791999"/>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5" name="Imagem 74">
              <a:extLst>
                <a:ext uri="{FF2B5EF4-FFF2-40B4-BE49-F238E27FC236}">
                  <a16:creationId xmlns:a16="http://schemas.microsoft.com/office/drawing/2014/main" id="{F8163EE6-5A75-B403-3B5E-48B7A57518AB}"/>
                </a:ext>
              </a:extLst>
            </p:cNvPr>
            <p:cNvPicPr>
              <a:picLocks noChangeAspect="1"/>
            </p:cNvPicPr>
            <p:nvPr/>
          </p:nvPicPr>
          <p:blipFill rotWithShape="1">
            <a:blip r:embed="rId3">
              <a:clrChange>
                <a:clrFrom>
                  <a:srgbClr val="FFFFFF"/>
                </a:clrFrom>
                <a:clrTo>
                  <a:srgbClr val="FFFFFF">
                    <a:alpha val="0"/>
                  </a:srgbClr>
                </a:clrTo>
              </a:clrChange>
            </a:blip>
            <a:srcRect l="59730" r="20429"/>
            <a:stretch/>
          </p:blipFill>
          <p:spPr>
            <a:xfrm>
              <a:off x="5600292" y="925124"/>
              <a:ext cx="1530080" cy="1360486"/>
            </a:xfrm>
            <a:prstGeom prst="rect">
              <a:avLst/>
            </a:prstGeom>
          </p:spPr>
        </p:pic>
      </p:grpSp>
      <p:sp>
        <p:nvSpPr>
          <p:cNvPr id="25" name="Retângulo 24">
            <a:extLst>
              <a:ext uri="{FF2B5EF4-FFF2-40B4-BE49-F238E27FC236}">
                <a16:creationId xmlns:a16="http://schemas.microsoft.com/office/drawing/2014/main" id="{AE473716-58C4-B184-CEDC-1CB4DA32BE78}"/>
              </a:ext>
            </a:extLst>
          </p:cNvPr>
          <p:cNvSpPr/>
          <p:nvPr/>
        </p:nvSpPr>
        <p:spPr>
          <a:xfrm>
            <a:off x="348423" y="2369070"/>
            <a:ext cx="9029726"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grpSp>
        <p:nvGrpSpPr>
          <p:cNvPr id="8" name="Agrupar 7">
            <a:extLst>
              <a:ext uri="{FF2B5EF4-FFF2-40B4-BE49-F238E27FC236}">
                <a16:creationId xmlns:a16="http://schemas.microsoft.com/office/drawing/2014/main" id="{CA658679-6F78-75F3-D9E6-29EF29FB8904}"/>
              </a:ext>
            </a:extLst>
          </p:cNvPr>
          <p:cNvGrpSpPr/>
          <p:nvPr/>
        </p:nvGrpSpPr>
        <p:grpSpPr>
          <a:xfrm>
            <a:off x="856993" y="3526634"/>
            <a:ext cx="3497724" cy="1610570"/>
            <a:chOff x="516296" y="3757832"/>
            <a:chExt cx="3876947" cy="1785188"/>
          </a:xfrm>
        </p:grpSpPr>
        <p:grpSp>
          <p:nvGrpSpPr>
            <p:cNvPr id="5" name="Agrupar 4">
              <a:extLst>
                <a:ext uri="{FF2B5EF4-FFF2-40B4-BE49-F238E27FC236}">
                  <a16:creationId xmlns:a16="http://schemas.microsoft.com/office/drawing/2014/main" id="{B2F6B4F0-1DCE-E6C2-720A-1238D8FB8BB2}"/>
                </a:ext>
              </a:extLst>
            </p:cNvPr>
            <p:cNvGrpSpPr/>
            <p:nvPr/>
          </p:nvGrpSpPr>
          <p:grpSpPr>
            <a:xfrm>
              <a:off x="516296" y="3985247"/>
              <a:ext cx="1404231" cy="1557773"/>
              <a:chOff x="516296" y="3852122"/>
              <a:chExt cx="1404231" cy="1557773"/>
            </a:xfrm>
          </p:grpSpPr>
          <p:pic>
            <p:nvPicPr>
              <p:cNvPr id="4" name="Imagem 3">
                <a:extLst>
                  <a:ext uri="{FF2B5EF4-FFF2-40B4-BE49-F238E27FC236}">
                    <a16:creationId xmlns:a16="http://schemas.microsoft.com/office/drawing/2014/main" id="{CF8454E5-B1D1-ED37-0DB9-08BB32AF5C81}"/>
                  </a:ext>
                </a:extLst>
              </p:cNvPr>
              <p:cNvPicPr>
                <a:picLocks noChangeAspect="1"/>
              </p:cNvPicPr>
              <p:nvPr/>
            </p:nvPicPr>
            <p:blipFill>
              <a:blip r:embed="rId4"/>
              <a:stretch>
                <a:fillRect/>
              </a:stretch>
            </p:blipFill>
            <p:spPr>
              <a:xfrm>
                <a:off x="516296" y="4173537"/>
                <a:ext cx="1236358" cy="1236358"/>
              </a:xfrm>
              <a:prstGeom prst="rect">
                <a:avLst/>
              </a:prstGeom>
            </p:spPr>
          </p:pic>
          <p:sp>
            <p:nvSpPr>
              <p:cNvPr id="10" name="Google Shape;237;p31">
                <a:extLst>
                  <a:ext uri="{FF2B5EF4-FFF2-40B4-BE49-F238E27FC236}">
                    <a16:creationId xmlns:a16="http://schemas.microsoft.com/office/drawing/2014/main" id="{BBA13BB6-AAE3-DE49-A1F7-307D75F607C3}"/>
                  </a:ext>
                </a:extLst>
              </p:cNvPr>
              <p:cNvSpPr txBox="1">
                <a:spLocks/>
              </p:cNvSpPr>
              <p:nvPr/>
            </p:nvSpPr>
            <p:spPr>
              <a:xfrm>
                <a:off x="619125" y="3852122"/>
                <a:ext cx="1301402" cy="31085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gn="ctr">
                  <a:spcBef>
                    <a:spcPts val="0"/>
                  </a:spcBef>
                  <a:buNone/>
                </a:pPr>
                <a:r>
                  <a:rPr lang="en-US" sz="1600" dirty="0"/>
                  <a:t>NASA-TLX</a:t>
                </a:r>
                <a:endParaRPr lang="en-US" sz="2000" dirty="0"/>
              </a:p>
            </p:txBody>
          </p:sp>
        </p:grpSp>
        <p:grpSp>
          <p:nvGrpSpPr>
            <p:cNvPr id="12" name="Agrupar 11">
              <a:extLst>
                <a:ext uri="{FF2B5EF4-FFF2-40B4-BE49-F238E27FC236}">
                  <a16:creationId xmlns:a16="http://schemas.microsoft.com/office/drawing/2014/main" id="{9C8935BE-90AA-059D-9945-2E9B8ABDE525}"/>
                </a:ext>
              </a:extLst>
            </p:cNvPr>
            <p:cNvGrpSpPr/>
            <p:nvPr/>
          </p:nvGrpSpPr>
          <p:grpSpPr>
            <a:xfrm>
              <a:off x="1752654" y="3757832"/>
              <a:ext cx="1404231" cy="1785188"/>
              <a:chOff x="516296" y="3624707"/>
              <a:chExt cx="1404231" cy="1785188"/>
            </a:xfrm>
          </p:grpSpPr>
          <p:pic>
            <p:nvPicPr>
              <p:cNvPr id="13" name="Imagem 12">
                <a:extLst>
                  <a:ext uri="{FF2B5EF4-FFF2-40B4-BE49-F238E27FC236}">
                    <a16:creationId xmlns:a16="http://schemas.microsoft.com/office/drawing/2014/main" id="{4EC8FC67-DB82-44CA-D4C4-A4D9AFEF56B6}"/>
                  </a:ext>
                </a:extLst>
              </p:cNvPr>
              <p:cNvPicPr>
                <a:picLocks noChangeAspect="1"/>
              </p:cNvPicPr>
              <p:nvPr/>
            </p:nvPicPr>
            <p:blipFill>
              <a:blip r:embed="rId4"/>
              <a:stretch>
                <a:fillRect/>
              </a:stretch>
            </p:blipFill>
            <p:spPr>
              <a:xfrm>
                <a:off x="516296" y="4173537"/>
                <a:ext cx="1236358" cy="1236358"/>
              </a:xfrm>
              <a:prstGeom prst="rect">
                <a:avLst/>
              </a:prstGeom>
            </p:spPr>
          </p:pic>
          <p:sp>
            <p:nvSpPr>
              <p:cNvPr id="14" name="Google Shape;237;p31">
                <a:extLst>
                  <a:ext uri="{FF2B5EF4-FFF2-40B4-BE49-F238E27FC236}">
                    <a16:creationId xmlns:a16="http://schemas.microsoft.com/office/drawing/2014/main" id="{91342E67-B456-30A7-3E52-3241BF52A673}"/>
                  </a:ext>
                </a:extLst>
              </p:cNvPr>
              <p:cNvSpPr txBox="1">
                <a:spLocks/>
              </p:cNvSpPr>
              <p:nvPr/>
            </p:nvSpPr>
            <p:spPr>
              <a:xfrm>
                <a:off x="619125" y="3624707"/>
                <a:ext cx="1301402" cy="538273"/>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gn="ctr">
                  <a:spcBef>
                    <a:spcPts val="0"/>
                  </a:spcBef>
                  <a:buNone/>
                </a:pPr>
                <a:r>
                  <a:rPr lang="en-US" sz="1600" dirty="0"/>
                  <a:t>SAGAT</a:t>
                </a:r>
              </a:p>
              <a:p>
                <a:pPr marL="0" indent="0" algn="ctr">
                  <a:spcBef>
                    <a:spcPts val="0"/>
                  </a:spcBef>
                  <a:buNone/>
                </a:pPr>
                <a:r>
                  <a:rPr lang="en-US" sz="1600" dirty="0"/>
                  <a:t>(ADAPTED)</a:t>
                </a:r>
                <a:endParaRPr lang="en-US" sz="2000" dirty="0"/>
              </a:p>
            </p:txBody>
          </p:sp>
        </p:grpSp>
        <p:grpSp>
          <p:nvGrpSpPr>
            <p:cNvPr id="15" name="Agrupar 14">
              <a:extLst>
                <a:ext uri="{FF2B5EF4-FFF2-40B4-BE49-F238E27FC236}">
                  <a16:creationId xmlns:a16="http://schemas.microsoft.com/office/drawing/2014/main" id="{0F8E4D2E-3E21-5563-B8A7-0AE7B2428430}"/>
                </a:ext>
              </a:extLst>
            </p:cNvPr>
            <p:cNvGrpSpPr/>
            <p:nvPr/>
          </p:nvGrpSpPr>
          <p:grpSpPr>
            <a:xfrm>
              <a:off x="2989012" y="3985247"/>
              <a:ext cx="1404231" cy="1557773"/>
              <a:chOff x="516296" y="3852122"/>
              <a:chExt cx="1404231" cy="1557773"/>
            </a:xfrm>
          </p:grpSpPr>
          <p:pic>
            <p:nvPicPr>
              <p:cNvPr id="16" name="Imagem 15">
                <a:extLst>
                  <a:ext uri="{FF2B5EF4-FFF2-40B4-BE49-F238E27FC236}">
                    <a16:creationId xmlns:a16="http://schemas.microsoft.com/office/drawing/2014/main" id="{E63DDB92-7C86-D2B1-7199-6290BCC2722D}"/>
                  </a:ext>
                </a:extLst>
              </p:cNvPr>
              <p:cNvPicPr>
                <a:picLocks noChangeAspect="1"/>
              </p:cNvPicPr>
              <p:nvPr/>
            </p:nvPicPr>
            <p:blipFill>
              <a:blip r:embed="rId4"/>
              <a:stretch>
                <a:fillRect/>
              </a:stretch>
            </p:blipFill>
            <p:spPr>
              <a:xfrm>
                <a:off x="516296" y="4173537"/>
                <a:ext cx="1236358" cy="1236358"/>
              </a:xfrm>
              <a:prstGeom prst="rect">
                <a:avLst/>
              </a:prstGeom>
            </p:spPr>
          </p:pic>
          <p:sp>
            <p:nvSpPr>
              <p:cNvPr id="17" name="Google Shape;237;p31">
                <a:extLst>
                  <a:ext uri="{FF2B5EF4-FFF2-40B4-BE49-F238E27FC236}">
                    <a16:creationId xmlns:a16="http://schemas.microsoft.com/office/drawing/2014/main" id="{84B907F6-FA3D-57C9-82D5-8A9ADCD361EA}"/>
                  </a:ext>
                </a:extLst>
              </p:cNvPr>
              <p:cNvSpPr txBox="1">
                <a:spLocks/>
              </p:cNvSpPr>
              <p:nvPr/>
            </p:nvSpPr>
            <p:spPr>
              <a:xfrm>
                <a:off x="619125" y="3852122"/>
                <a:ext cx="1301402" cy="31085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gn="ctr">
                  <a:spcBef>
                    <a:spcPts val="0"/>
                  </a:spcBef>
                  <a:buNone/>
                </a:pPr>
                <a:r>
                  <a:rPr lang="en-US" sz="1600" dirty="0"/>
                  <a:t>GUIDANCE</a:t>
                </a:r>
                <a:endParaRPr lang="en-US" sz="2000" dirty="0"/>
              </a:p>
            </p:txBody>
          </p:sp>
        </p:grpSp>
      </p:grpSp>
      <p:sp>
        <p:nvSpPr>
          <p:cNvPr id="19" name="Retângulo 18">
            <a:extLst>
              <a:ext uri="{FF2B5EF4-FFF2-40B4-BE49-F238E27FC236}">
                <a16:creationId xmlns:a16="http://schemas.microsoft.com/office/drawing/2014/main" id="{1E03BB56-D287-025A-6D2B-31E1189591E8}"/>
              </a:ext>
            </a:extLst>
          </p:cNvPr>
          <p:cNvSpPr/>
          <p:nvPr/>
        </p:nvSpPr>
        <p:spPr>
          <a:xfrm>
            <a:off x="1863939" y="19843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32" name="Retângulo 31">
            <a:extLst>
              <a:ext uri="{FF2B5EF4-FFF2-40B4-BE49-F238E27FC236}">
                <a16:creationId xmlns:a16="http://schemas.microsoft.com/office/drawing/2014/main" id="{2C37A658-86EF-4C6E-7FAF-92E9D3571D89}"/>
              </a:ext>
            </a:extLst>
          </p:cNvPr>
          <p:cNvSpPr/>
          <p:nvPr/>
        </p:nvSpPr>
        <p:spPr>
          <a:xfrm>
            <a:off x="6378803" y="19843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3" name="Imagem 32">
            <a:extLst>
              <a:ext uri="{FF2B5EF4-FFF2-40B4-BE49-F238E27FC236}">
                <a16:creationId xmlns:a16="http://schemas.microsoft.com/office/drawing/2014/main" id="{A3D5CFE7-C2EF-4B29-E274-82BB4D9B3DAC}"/>
              </a:ext>
            </a:extLst>
          </p:cNvPr>
          <p:cNvPicPr>
            <a:picLocks noChangeAspect="1"/>
          </p:cNvPicPr>
          <p:nvPr/>
        </p:nvPicPr>
        <p:blipFill>
          <a:blip r:embed="rId5"/>
          <a:stretch>
            <a:fillRect/>
          </a:stretch>
        </p:blipFill>
        <p:spPr>
          <a:xfrm>
            <a:off x="6485024" y="1984319"/>
            <a:ext cx="1271390" cy="1271390"/>
          </a:xfrm>
          <a:prstGeom prst="rect">
            <a:avLst/>
          </a:prstGeom>
        </p:spPr>
      </p:pic>
      <p:pic>
        <p:nvPicPr>
          <p:cNvPr id="35" name="Gráfico 34">
            <a:extLst>
              <a:ext uri="{FF2B5EF4-FFF2-40B4-BE49-F238E27FC236}">
                <a16:creationId xmlns:a16="http://schemas.microsoft.com/office/drawing/2014/main" id="{0A495A19-9425-3DE2-7126-7B5A24851C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23621" y="3819533"/>
            <a:ext cx="1477543" cy="1495417"/>
          </a:xfrm>
          <a:prstGeom prst="rect">
            <a:avLst/>
          </a:prstGeom>
        </p:spPr>
      </p:pic>
      <p:grpSp>
        <p:nvGrpSpPr>
          <p:cNvPr id="196" name="Agrupar 195">
            <a:extLst>
              <a:ext uri="{FF2B5EF4-FFF2-40B4-BE49-F238E27FC236}">
                <a16:creationId xmlns:a16="http://schemas.microsoft.com/office/drawing/2014/main" id="{15628103-EDBA-E45C-C88D-249A2D058C6F}"/>
              </a:ext>
            </a:extLst>
          </p:cNvPr>
          <p:cNvGrpSpPr/>
          <p:nvPr/>
        </p:nvGrpSpPr>
        <p:grpSpPr>
          <a:xfrm>
            <a:off x="7503017" y="3995805"/>
            <a:ext cx="1190582" cy="1188256"/>
            <a:chOff x="7575062" y="4193867"/>
            <a:chExt cx="992132" cy="990194"/>
          </a:xfrm>
        </p:grpSpPr>
        <p:pic>
          <p:nvPicPr>
            <p:cNvPr id="69" name="Gráfico 68">
              <a:extLst>
                <a:ext uri="{FF2B5EF4-FFF2-40B4-BE49-F238E27FC236}">
                  <a16:creationId xmlns:a16="http://schemas.microsoft.com/office/drawing/2014/main" id="{359A9260-BDF9-07E5-0727-0D10330C20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75062" y="4193867"/>
              <a:ext cx="992132" cy="990194"/>
            </a:xfrm>
            <a:prstGeom prst="rect">
              <a:avLst/>
            </a:prstGeom>
          </p:spPr>
        </p:pic>
        <p:grpSp>
          <p:nvGrpSpPr>
            <p:cNvPr id="193" name="Agrupar 192">
              <a:extLst>
                <a:ext uri="{FF2B5EF4-FFF2-40B4-BE49-F238E27FC236}">
                  <a16:creationId xmlns:a16="http://schemas.microsoft.com/office/drawing/2014/main" id="{13ED5908-443B-81FD-D534-9E800CB1C88D}"/>
                </a:ext>
              </a:extLst>
            </p:cNvPr>
            <p:cNvGrpSpPr/>
            <p:nvPr/>
          </p:nvGrpSpPr>
          <p:grpSpPr>
            <a:xfrm>
              <a:off x="7817635" y="4534492"/>
              <a:ext cx="431205" cy="649569"/>
              <a:chOff x="7817635" y="4534492"/>
              <a:chExt cx="431205" cy="649569"/>
            </a:xfrm>
          </p:grpSpPr>
          <p:grpSp>
            <p:nvGrpSpPr>
              <p:cNvPr id="41" name="Agrupar 40">
                <a:extLst>
                  <a:ext uri="{FF2B5EF4-FFF2-40B4-BE49-F238E27FC236}">
                    <a16:creationId xmlns:a16="http://schemas.microsoft.com/office/drawing/2014/main" id="{E0F8B50A-893B-30AA-912E-2D01DC1EC854}"/>
                  </a:ext>
                </a:extLst>
              </p:cNvPr>
              <p:cNvGrpSpPr/>
              <p:nvPr/>
            </p:nvGrpSpPr>
            <p:grpSpPr>
              <a:xfrm>
                <a:off x="7817635" y="4547186"/>
                <a:ext cx="90000" cy="90000"/>
                <a:chOff x="8865383" y="4500586"/>
                <a:chExt cx="90000" cy="90000"/>
              </a:xfrm>
            </p:grpSpPr>
            <p:sp>
              <p:nvSpPr>
                <p:cNvPr id="38" name="Elipse 37">
                  <a:extLst>
                    <a:ext uri="{FF2B5EF4-FFF2-40B4-BE49-F238E27FC236}">
                      <a16:creationId xmlns:a16="http://schemas.microsoft.com/office/drawing/2014/main" id="{F8EE5F67-ABC3-668B-6EDC-66CCDFDFD2DD}"/>
                    </a:ext>
                  </a:extLst>
                </p:cNvPr>
                <p:cNvSpPr/>
                <p:nvPr/>
              </p:nvSpPr>
              <p:spPr>
                <a:xfrm>
                  <a:off x="8889904" y="4522726"/>
                  <a:ext cx="45722" cy="45720"/>
                </a:xfrm>
                <a:prstGeom prst="ellipse">
                  <a:avLst/>
                </a:prstGeom>
                <a:solidFill>
                  <a:srgbClr val="00000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0" name="Elipse 39">
                  <a:extLst>
                    <a:ext uri="{FF2B5EF4-FFF2-40B4-BE49-F238E27FC236}">
                      <a16:creationId xmlns:a16="http://schemas.microsoft.com/office/drawing/2014/main" id="{40571FB4-9DA9-2A0E-FF46-2342151020F2}"/>
                    </a:ext>
                  </a:extLst>
                </p:cNvPr>
                <p:cNvSpPr/>
                <p:nvPr/>
              </p:nvSpPr>
              <p:spPr>
                <a:xfrm>
                  <a:off x="8865383" y="4500586"/>
                  <a:ext cx="90000" cy="90000"/>
                </a:xfrm>
                <a:prstGeom prst="ellips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grpSp>
          <p:grpSp>
            <p:nvGrpSpPr>
              <p:cNvPr id="46" name="Agrupar 45">
                <a:extLst>
                  <a:ext uri="{FF2B5EF4-FFF2-40B4-BE49-F238E27FC236}">
                    <a16:creationId xmlns:a16="http://schemas.microsoft.com/office/drawing/2014/main" id="{10AAC01C-FC21-A5C7-ABCB-520ADAAA98F5}"/>
                  </a:ext>
                </a:extLst>
              </p:cNvPr>
              <p:cNvGrpSpPr/>
              <p:nvPr/>
            </p:nvGrpSpPr>
            <p:grpSpPr>
              <a:xfrm>
                <a:off x="8158840" y="4534492"/>
                <a:ext cx="90000" cy="90000"/>
                <a:chOff x="8865383" y="4500586"/>
                <a:chExt cx="90000" cy="90000"/>
              </a:xfrm>
            </p:grpSpPr>
            <p:sp>
              <p:nvSpPr>
                <p:cNvPr id="47" name="Elipse 46">
                  <a:extLst>
                    <a:ext uri="{FF2B5EF4-FFF2-40B4-BE49-F238E27FC236}">
                      <a16:creationId xmlns:a16="http://schemas.microsoft.com/office/drawing/2014/main" id="{4D0ABF22-B691-8CCE-6CCA-1491F04858B3}"/>
                    </a:ext>
                  </a:extLst>
                </p:cNvPr>
                <p:cNvSpPr/>
                <p:nvPr/>
              </p:nvSpPr>
              <p:spPr>
                <a:xfrm>
                  <a:off x="8889904" y="4522726"/>
                  <a:ext cx="45722" cy="45720"/>
                </a:xfrm>
                <a:prstGeom prst="ellipse">
                  <a:avLst/>
                </a:prstGeom>
                <a:solidFill>
                  <a:srgbClr val="00000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8" name="Elipse 47">
                  <a:extLst>
                    <a:ext uri="{FF2B5EF4-FFF2-40B4-BE49-F238E27FC236}">
                      <a16:creationId xmlns:a16="http://schemas.microsoft.com/office/drawing/2014/main" id="{A8C137BF-A56E-AF1C-5BCC-7C552CF9BFE2}"/>
                    </a:ext>
                  </a:extLst>
                </p:cNvPr>
                <p:cNvSpPr/>
                <p:nvPr/>
              </p:nvSpPr>
              <p:spPr>
                <a:xfrm>
                  <a:off x="8865383" y="4500586"/>
                  <a:ext cx="90000" cy="90000"/>
                </a:xfrm>
                <a:prstGeom prst="ellips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grpSp>
          <p:cxnSp>
            <p:nvCxnSpPr>
              <p:cNvPr id="49" name="Conector reto 48">
                <a:extLst>
                  <a:ext uri="{FF2B5EF4-FFF2-40B4-BE49-F238E27FC236}">
                    <a16:creationId xmlns:a16="http://schemas.microsoft.com/office/drawing/2014/main" id="{BC23324A-F473-A392-725D-FBF8E38FFA0E}"/>
                  </a:ext>
                </a:extLst>
              </p:cNvPr>
              <p:cNvCxnSpPr>
                <a:cxnSpLocks/>
              </p:cNvCxnSpPr>
              <p:nvPr/>
            </p:nvCxnSpPr>
            <p:spPr>
              <a:xfrm>
                <a:off x="7865016" y="4637186"/>
                <a:ext cx="0" cy="195593"/>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Conector reto 52">
                <a:extLst>
                  <a:ext uri="{FF2B5EF4-FFF2-40B4-BE49-F238E27FC236}">
                    <a16:creationId xmlns:a16="http://schemas.microsoft.com/office/drawing/2014/main" id="{93CB961B-1CF6-79B6-FCB7-02BC14A9BCD0}"/>
                  </a:ext>
                </a:extLst>
              </p:cNvPr>
              <p:cNvCxnSpPr>
                <a:cxnSpLocks/>
              </p:cNvCxnSpPr>
              <p:nvPr/>
            </p:nvCxnSpPr>
            <p:spPr>
              <a:xfrm>
                <a:off x="8203840" y="4624492"/>
                <a:ext cx="0" cy="110490"/>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Conector reto 54">
                <a:extLst>
                  <a:ext uri="{FF2B5EF4-FFF2-40B4-BE49-F238E27FC236}">
                    <a16:creationId xmlns:a16="http://schemas.microsoft.com/office/drawing/2014/main" id="{C4927A87-133A-E608-0477-18AE8995C6BE}"/>
                  </a:ext>
                </a:extLst>
              </p:cNvPr>
              <p:cNvCxnSpPr>
                <a:cxnSpLocks/>
              </p:cNvCxnSpPr>
              <p:nvPr/>
            </p:nvCxnSpPr>
            <p:spPr>
              <a:xfrm>
                <a:off x="7864763" y="4827685"/>
                <a:ext cx="94778" cy="184846"/>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Conector reto 57">
                <a:extLst>
                  <a:ext uri="{FF2B5EF4-FFF2-40B4-BE49-F238E27FC236}">
                    <a16:creationId xmlns:a16="http://schemas.microsoft.com/office/drawing/2014/main" id="{DA7FD67D-0081-E334-9639-92F05CAC5531}"/>
                  </a:ext>
                </a:extLst>
              </p:cNvPr>
              <p:cNvCxnSpPr>
                <a:cxnSpLocks/>
              </p:cNvCxnSpPr>
              <p:nvPr/>
            </p:nvCxnSpPr>
            <p:spPr>
              <a:xfrm flipH="1">
                <a:off x="8071128" y="4734982"/>
                <a:ext cx="132137" cy="288052"/>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Conector reto 61">
                <a:extLst>
                  <a:ext uri="{FF2B5EF4-FFF2-40B4-BE49-F238E27FC236}">
                    <a16:creationId xmlns:a16="http://schemas.microsoft.com/office/drawing/2014/main" id="{2D23F80F-75DD-B43E-1CC6-49AFAF093189}"/>
                  </a:ext>
                </a:extLst>
              </p:cNvPr>
              <p:cNvCxnSpPr>
                <a:cxnSpLocks/>
              </p:cNvCxnSpPr>
              <p:nvPr/>
            </p:nvCxnSpPr>
            <p:spPr>
              <a:xfrm>
                <a:off x="7957160" y="5005388"/>
                <a:ext cx="0" cy="178673"/>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Conector reto 62">
                <a:extLst>
                  <a:ext uri="{FF2B5EF4-FFF2-40B4-BE49-F238E27FC236}">
                    <a16:creationId xmlns:a16="http://schemas.microsoft.com/office/drawing/2014/main" id="{3D68B9AB-9FA9-59AC-813E-C4ABD68A0E4F}"/>
                  </a:ext>
                </a:extLst>
              </p:cNvPr>
              <p:cNvCxnSpPr>
                <a:cxnSpLocks/>
              </p:cNvCxnSpPr>
              <p:nvPr/>
            </p:nvCxnSpPr>
            <p:spPr>
              <a:xfrm>
                <a:off x="8070876" y="5020653"/>
                <a:ext cx="252" cy="163408"/>
              </a:xfrm>
              <a:prstGeom prst="line">
                <a:avLst/>
              </a:prstGeom>
              <a:ln w="9525" cap="flat"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pic>
        <p:nvPicPr>
          <p:cNvPr id="198" name="Imagem 197">
            <a:extLst>
              <a:ext uri="{FF2B5EF4-FFF2-40B4-BE49-F238E27FC236}">
                <a16:creationId xmlns:a16="http://schemas.microsoft.com/office/drawing/2014/main" id="{18C35599-5D7B-A6FD-1003-C098CA8B5BDB}"/>
              </a:ext>
            </a:extLst>
          </p:cNvPr>
          <p:cNvPicPr>
            <a:picLocks noChangeAspect="1"/>
          </p:cNvPicPr>
          <p:nvPr/>
        </p:nvPicPr>
        <p:blipFill>
          <a:blip r:embed="rId10"/>
          <a:stretch>
            <a:fillRect/>
          </a:stretch>
        </p:blipFill>
        <p:spPr>
          <a:xfrm>
            <a:off x="1970160" y="1984319"/>
            <a:ext cx="1271390" cy="1271390"/>
          </a:xfrm>
          <a:prstGeom prst="rect">
            <a:avLst/>
          </a:prstGeom>
        </p:spPr>
      </p:pic>
    </p:spTree>
    <p:extLst>
      <p:ext uri="{BB962C8B-B14F-4D97-AF65-F5344CB8AC3E}">
        <p14:creationId xmlns:p14="http://schemas.microsoft.com/office/powerpoint/2010/main" val="3957756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pSp>
        <p:nvGrpSpPr>
          <p:cNvPr id="47" name="Agrupar 46">
            <a:extLst>
              <a:ext uri="{FF2B5EF4-FFF2-40B4-BE49-F238E27FC236}">
                <a16:creationId xmlns:a16="http://schemas.microsoft.com/office/drawing/2014/main" id="{12449B5D-2E28-F196-D581-A8BDACFFE999}"/>
              </a:ext>
            </a:extLst>
          </p:cNvPr>
          <p:cNvGrpSpPr/>
          <p:nvPr/>
        </p:nvGrpSpPr>
        <p:grpSpPr>
          <a:xfrm>
            <a:off x="348421" y="791999"/>
            <a:ext cx="9043199" cy="1626736"/>
            <a:chOff x="348421" y="791999"/>
            <a:chExt cx="9043199" cy="1626736"/>
          </a:xfrm>
        </p:grpSpPr>
        <p:sp>
          <p:nvSpPr>
            <p:cNvPr id="48" name="Retângulo 47">
              <a:extLst>
                <a:ext uri="{FF2B5EF4-FFF2-40B4-BE49-F238E27FC236}">
                  <a16:creationId xmlns:a16="http://schemas.microsoft.com/office/drawing/2014/main" id="{9E681C7C-1D75-B08B-38A7-6A6F92D7F461}"/>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49" name="Imagem 48">
              <a:extLst>
                <a:ext uri="{FF2B5EF4-FFF2-40B4-BE49-F238E27FC236}">
                  <a16:creationId xmlns:a16="http://schemas.microsoft.com/office/drawing/2014/main" id="{B3B18840-7618-86B8-75BC-A6DDCCAECDB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94045" y="927951"/>
              <a:ext cx="7711536" cy="1360486"/>
            </a:xfrm>
            <a:prstGeom prst="rect">
              <a:avLst/>
            </a:prstGeom>
          </p:spPr>
        </p:pic>
        <p:sp>
          <p:nvSpPr>
            <p:cNvPr id="50" name="Retângulo 49">
              <a:extLst>
                <a:ext uri="{FF2B5EF4-FFF2-40B4-BE49-F238E27FC236}">
                  <a16:creationId xmlns:a16="http://schemas.microsoft.com/office/drawing/2014/main" id="{1B365AC1-358B-20AF-0C04-CA3B0D0026E0}"/>
                </a:ext>
              </a:extLst>
            </p:cNvPr>
            <p:cNvSpPr/>
            <p:nvPr/>
          </p:nvSpPr>
          <p:spPr>
            <a:xfrm>
              <a:off x="348421" y="791999"/>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51" name="Imagem 50">
              <a:extLst>
                <a:ext uri="{FF2B5EF4-FFF2-40B4-BE49-F238E27FC236}">
                  <a16:creationId xmlns:a16="http://schemas.microsoft.com/office/drawing/2014/main" id="{4100521B-8BA1-F99D-7290-CFEF90A9B2B1}"/>
                </a:ext>
              </a:extLst>
            </p:cNvPr>
            <p:cNvPicPr>
              <a:picLocks noChangeAspect="1"/>
            </p:cNvPicPr>
            <p:nvPr/>
          </p:nvPicPr>
          <p:blipFill rotWithShape="1">
            <a:blip r:embed="rId3">
              <a:clrChange>
                <a:clrFrom>
                  <a:srgbClr val="FFFFFF"/>
                </a:clrFrom>
                <a:clrTo>
                  <a:srgbClr val="FFFFFF">
                    <a:alpha val="0"/>
                  </a:srgbClr>
                </a:clrTo>
              </a:clrChange>
            </a:blip>
            <a:srcRect l="80061" r="-1374"/>
            <a:stretch/>
          </p:blipFill>
          <p:spPr>
            <a:xfrm>
              <a:off x="7168176" y="925124"/>
              <a:ext cx="1643625" cy="1360486"/>
            </a:xfrm>
            <a:prstGeom prst="rect">
              <a:avLst/>
            </a:prstGeom>
          </p:spPr>
        </p:pic>
      </p:grpSp>
      <p:sp>
        <p:nvSpPr>
          <p:cNvPr id="25" name="Retângulo 24">
            <a:extLst>
              <a:ext uri="{FF2B5EF4-FFF2-40B4-BE49-F238E27FC236}">
                <a16:creationId xmlns:a16="http://schemas.microsoft.com/office/drawing/2014/main" id="{AE473716-58C4-B184-CEDC-1CB4DA32BE78}"/>
              </a:ext>
            </a:extLst>
          </p:cNvPr>
          <p:cNvSpPr/>
          <p:nvPr/>
        </p:nvSpPr>
        <p:spPr>
          <a:xfrm>
            <a:off x="348423" y="2416406"/>
            <a:ext cx="9029726" cy="364959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8" name="Retângulo 7">
            <a:extLst>
              <a:ext uri="{FF2B5EF4-FFF2-40B4-BE49-F238E27FC236}">
                <a16:creationId xmlns:a16="http://schemas.microsoft.com/office/drawing/2014/main" id="{8155CBEB-CBA1-35B5-3E65-2DD34EDCE529}"/>
              </a:ext>
            </a:extLst>
          </p:cNvPr>
          <p:cNvSpPr/>
          <p:nvPr/>
        </p:nvSpPr>
        <p:spPr>
          <a:xfrm>
            <a:off x="4128104" y="19843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4" name="Imagem 3">
            <a:extLst>
              <a:ext uri="{FF2B5EF4-FFF2-40B4-BE49-F238E27FC236}">
                <a16:creationId xmlns:a16="http://schemas.microsoft.com/office/drawing/2014/main" id="{C53BFCE0-4E7A-C62C-A8D1-9E865941E49A}"/>
              </a:ext>
            </a:extLst>
          </p:cNvPr>
          <p:cNvPicPr>
            <a:picLocks noChangeAspect="1"/>
          </p:cNvPicPr>
          <p:nvPr/>
        </p:nvPicPr>
        <p:blipFill>
          <a:blip r:embed="rId4"/>
          <a:stretch>
            <a:fillRect/>
          </a:stretch>
        </p:blipFill>
        <p:spPr>
          <a:xfrm>
            <a:off x="4234325" y="1984319"/>
            <a:ext cx="1271390" cy="1271390"/>
          </a:xfrm>
          <a:prstGeom prst="rect">
            <a:avLst/>
          </a:prstGeom>
        </p:spPr>
      </p:pic>
      <p:grpSp>
        <p:nvGrpSpPr>
          <p:cNvPr id="21" name="Agrupar 20">
            <a:extLst>
              <a:ext uri="{FF2B5EF4-FFF2-40B4-BE49-F238E27FC236}">
                <a16:creationId xmlns:a16="http://schemas.microsoft.com/office/drawing/2014/main" id="{8B210D0F-93D8-DE6C-3859-B546540FC095}"/>
              </a:ext>
            </a:extLst>
          </p:cNvPr>
          <p:cNvGrpSpPr/>
          <p:nvPr/>
        </p:nvGrpSpPr>
        <p:grpSpPr>
          <a:xfrm>
            <a:off x="4129346" y="4409332"/>
            <a:ext cx="1480077" cy="1406182"/>
            <a:chOff x="1085866" y="3410000"/>
            <a:chExt cx="2628883" cy="2497635"/>
          </a:xfrm>
        </p:grpSpPr>
        <p:sp>
          <p:nvSpPr>
            <p:cNvPr id="12" name="Google Shape;237;p31">
              <a:extLst>
                <a:ext uri="{FF2B5EF4-FFF2-40B4-BE49-F238E27FC236}">
                  <a16:creationId xmlns:a16="http://schemas.microsoft.com/office/drawing/2014/main" id="{962BA5C1-9D7C-5F50-C3C7-7F06C34FB81D}"/>
                </a:ext>
              </a:extLst>
            </p:cNvPr>
            <p:cNvSpPr txBox="1">
              <a:spLocks/>
            </p:cNvSpPr>
            <p:nvPr/>
          </p:nvSpPr>
          <p:spPr>
            <a:xfrm>
              <a:off x="1085866" y="3410000"/>
              <a:ext cx="2628883" cy="75614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gn="ctr">
                <a:spcBef>
                  <a:spcPts val="0"/>
                </a:spcBef>
                <a:buNone/>
              </a:pPr>
              <a:r>
                <a:rPr lang="en-US" sz="1800" b="0" i="0" dirty="0">
                  <a:solidFill>
                    <a:srgbClr val="000000"/>
                  </a:solidFill>
                  <a:effectLst/>
                  <a:latin typeface="CMR12"/>
                </a:rPr>
                <a:t>TWO-WAY ANOVA</a:t>
              </a:r>
              <a:endParaRPr lang="en-US" sz="2000" dirty="0"/>
            </a:p>
          </p:txBody>
        </p:sp>
        <p:grpSp>
          <p:nvGrpSpPr>
            <p:cNvPr id="20" name="Agrupar 19">
              <a:extLst>
                <a:ext uri="{FF2B5EF4-FFF2-40B4-BE49-F238E27FC236}">
                  <a16:creationId xmlns:a16="http://schemas.microsoft.com/office/drawing/2014/main" id="{1F300097-25A1-28AD-DA3A-D37360C446E6}"/>
                </a:ext>
              </a:extLst>
            </p:cNvPr>
            <p:cNvGrpSpPr/>
            <p:nvPr/>
          </p:nvGrpSpPr>
          <p:grpSpPr>
            <a:xfrm>
              <a:off x="1423614" y="4307259"/>
              <a:ext cx="1953387" cy="1600376"/>
              <a:chOff x="6594674" y="3825143"/>
              <a:chExt cx="1953387" cy="1600376"/>
            </a:xfrm>
          </p:grpSpPr>
          <p:pic>
            <p:nvPicPr>
              <p:cNvPr id="18" name="Gráfico 17">
                <a:extLst>
                  <a:ext uri="{FF2B5EF4-FFF2-40B4-BE49-F238E27FC236}">
                    <a16:creationId xmlns:a16="http://schemas.microsoft.com/office/drawing/2014/main" id="{A432BFB4-52A9-5B69-4318-84096686A7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94674" y="3825143"/>
                <a:ext cx="1953387" cy="756150"/>
              </a:xfrm>
              <a:prstGeom prst="rect">
                <a:avLst/>
              </a:prstGeom>
            </p:spPr>
          </p:pic>
          <p:sp>
            <p:nvSpPr>
              <p:cNvPr id="19" name="Retângulo: Cantos Arredondados 18">
                <a:extLst>
                  <a:ext uri="{FF2B5EF4-FFF2-40B4-BE49-F238E27FC236}">
                    <a16:creationId xmlns:a16="http://schemas.microsoft.com/office/drawing/2014/main" id="{9DEB0E3E-CF45-C7F4-0E88-179E6BC0681C}"/>
                  </a:ext>
                </a:extLst>
              </p:cNvPr>
              <p:cNvSpPr/>
              <p:nvPr/>
            </p:nvSpPr>
            <p:spPr>
              <a:xfrm>
                <a:off x="6625571" y="4669370"/>
                <a:ext cx="1857010" cy="756149"/>
              </a:xfrm>
              <a:prstGeom prst="roundRect">
                <a:avLst/>
              </a:prstGeom>
              <a:noFill/>
              <a:ln w="7620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800" dirty="0">
                    <a:solidFill>
                      <a:srgbClr val="000000"/>
                    </a:solidFill>
                  </a:rPr>
                  <a:t>P-</a:t>
                </a:r>
                <a:r>
                  <a:rPr lang="pt-BR" sz="1800" dirty="0" err="1">
                    <a:solidFill>
                      <a:srgbClr val="000000"/>
                    </a:solidFill>
                  </a:rPr>
                  <a:t>Value</a:t>
                </a:r>
                <a:endParaRPr lang="pt-BR" sz="1800" dirty="0">
                  <a:solidFill>
                    <a:srgbClr val="000000"/>
                  </a:solidFill>
                </a:endParaRPr>
              </a:p>
            </p:txBody>
          </p:sp>
        </p:grpSp>
      </p:grpSp>
      <p:pic>
        <p:nvPicPr>
          <p:cNvPr id="28" name="Imagem 27">
            <a:extLst>
              <a:ext uri="{FF2B5EF4-FFF2-40B4-BE49-F238E27FC236}">
                <a16:creationId xmlns:a16="http://schemas.microsoft.com/office/drawing/2014/main" id="{D49078D3-163F-A322-030B-99CF347C20AE}"/>
              </a:ext>
            </a:extLst>
          </p:cNvPr>
          <p:cNvPicPr>
            <a:picLocks noChangeAspect="1"/>
          </p:cNvPicPr>
          <p:nvPr/>
        </p:nvPicPr>
        <p:blipFill>
          <a:blip r:embed="rId7"/>
          <a:stretch>
            <a:fillRect/>
          </a:stretch>
        </p:blipFill>
        <p:spPr>
          <a:xfrm>
            <a:off x="1477536" y="4572935"/>
            <a:ext cx="1078979" cy="1078976"/>
          </a:xfrm>
          <a:prstGeom prst="rect">
            <a:avLst/>
          </a:prstGeom>
        </p:spPr>
      </p:pic>
      <p:pic>
        <p:nvPicPr>
          <p:cNvPr id="31" name="Imagem 30">
            <a:extLst>
              <a:ext uri="{FF2B5EF4-FFF2-40B4-BE49-F238E27FC236}">
                <a16:creationId xmlns:a16="http://schemas.microsoft.com/office/drawing/2014/main" id="{AC510AE4-23D9-23CB-D06B-8DE7103CCEE2}"/>
              </a:ext>
            </a:extLst>
          </p:cNvPr>
          <p:cNvPicPr>
            <a:picLocks noChangeAspect="1"/>
          </p:cNvPicPr>
          <p:nvPr/>
        </p:nvPicPr>
        <p:blipFill>
          <a:blip r:embed="rId8"/>
          <a:stretch>
            <a:fillRect/>
          </a:stretch>
        </p:blipFill>
        <p:spPr>
          <a:xfrm>
            <a:off x="5782232" y="2942406"/>
            <a:ext cx="1411099" cy="1447819"/>
          </a:xfrm>
          <a:prstGeom prst="rect">
            <a:avLst/>
          </a:prstGeom>
        </p:spPr>
      </p:pic>
      <p:pic>
        <p:nvPicPr>
          <p:cNvPr id="33" name="Imagem 32">
            <a:extLst>
              <a:ext uri="{FF2B5EF4-FFF2-40B4-BE49-F238E27FC236}">
                <a16:creationId xmlns:a16="http://schemas.microsoft.com/office/drawing/2014/main" id="{5534D2CF-3193-EE51-2ADC-E26A09E465FB}"/>
              </a:ext>
            </a:extLst>
          </p:cNvPr>
          <p:cNvPicPr>
            <a:picLocks noChangeAspect="1"/>
          </p:cNvPicPr>
          <p:nvPr/>
        </p:nvPicPr>
        <p:blipFill>
          <a:blip r:embed="rId9"/>
          <a:stretch>
            <a:fillRect/>
          </a:stretch>
        </p:blipFill>
        <p:spPr>
          <a:xfrm>
            <a:off x="2556515" y="2942406"/>
            <a:ext cx="1429569" cy="1429569"/>
          </a:xfrm>
          <a:prstGeom prst="rect">
            <a:avLst/>
          </a:prstGeom>
        </p:spPr>
      </p:pic>
      <p:grpSp>
        <p:nvGrpSpPr>
          <p:cNvPr id="37" name="Agrupar 36">
            <a:extLst>
              <a:ext uri="{FF2B5EF4-FFF2-40B4-BE49-F238E27FC236}">
                <a16:creationId xmlns:a16="http://schemas.microsoft.com/office/drawing/2014/main" id="{BA5F55BD-C516-420D-71FB-C1A26D3C56E5}"/>
              </a:ext>
            </a:extLst>
          </p:cNvPr>
          <p:cNvGrpSpPr/>
          <p:nvPr/>
        </p:nvGrpSpPr>
        <p:grpSpPr>
          <a:xfrm>
            <a:off x="7182255" y="4404569"/>
            <a:ext cx="1480077" cy="1415707"/>
            <a:chOff x="1085866" y="3393082"/>
            <a:chExt cx="2628883" cy="2514553"/>
          </a:xfrm>
        </p:grpSpPr>
        <p:sp>
          <p:nvSpPr>
            <p:cNvPr id="38" name="Google Shape;237;p31">
              <a:extLst>
                <a:ext uri="{FF2B5EF4-FFF2-40B4-BE49-F238E27FC236}">
                  <a16:creationId xmlns:a16="http://schemas.microsoft.com/office/drawing/2014/main" id="{EF840493-58AF-6916-A429-BD4AF4EF7F5D}"/>
                </a:ext>
              </a:extLst>
            </p:cNvPr>
            <p:cNvSpPr txBox="1">
              <a:spLocks/>
            </p:cNvSpPr>
            <p:nvPr/>
          </p:nvSpPr>
          <p:spPr>
            <a:xfrm>
              <a:off x="1085866" y="3393082"/>
              <a:ext cx="2628883" cy="75614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gn="ctr">
                <a:spcBef>
                  <a:spcPts val="0"/>
                </a:spcBef>
                <a:buNone/>
              </a:pPr>
              <a:r>
                <a:rPr lang="en-US" sz="1800" b="0" i="0" dirty="0">
                  <a:solidFill>
                    <a:srgbClr val="000000"/>
                  </a:solidFill>
                  <a:effectLst/>
                  <a:latin typeface="CMR12"/>
                </a:rPr>
                <a:t>LSD’S FISHER TEST</a:t>
              </a:r>
              <a:endParaRPr lang="en-US" sz="2000" dirty="0"/>
            </a:p>
          </p:txBody>
        </p:sp>
        <p:grpSp>
          <p:nvGrpSpPr>
            <p:cNvPr id="39" name="Agrupar 38">
              <a:extLst>
                <a:ext uri="{FF2B5EF4-FFF2-40B4-BE49-F238E27FC236}">
                  <a16:creationId xmlns:a16="http://schemas.microsoft.com/office/drawing/2014/main" id="{404B7C60-9241-376D-FFD0-82EEF0512F7A}"/>
                </a:ext>
              </a:extLst>
            </p:cNvPr>
            <p:cNvGrpSpPr/>
            <p:nvPr/>
          </p:nvGrpSpPr>
          <p:grpSpPr>
            <a:xfrm>
              <a:off x="1423614" y="4307259"/>
              <a:ext cx="1953387" cy="1600376"/>
              <a:chOff x="6594674" y="3825143"/>
              <a:chExt cx="1953387" cy="1600376"/>
            </a:xfrm>
          </p:grpSpPr>
          <p:pic>
            <p:nvPicPr>
              <p:cNvPr id="40" name="Gráfico 39">
                <a:extLst>
                  <a:ext uri="{FF2B5EF4-FFF2-40B4-BE49-F238E27FC236}">
                    <a16:creationId xmlns:a16="http://schemas.microsoft.com/office/drawing/2014/main" id="{5893EC84-7281-92E5-54F1-718CF76A25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94674" y="3825143"/>
                <a:ext cx="1953387" cy="756150"/>
              </a:xfrm>
              <a:prstGeom prst="rect">
                <a:avLst/>
              </a:prstGeom>
            </p:spPr>
          </p:pic>
          <p:sp>
            <p:nvSpPr>
              <p:cNvPr id="41" name="Retângulo: Cantos Arredondados 40">
                <a:extLst>
                  <a:ext uri="{FF2B5EF4-FFF2-40B4-BE49-F238E27FC236}">
                    <a16:creationId xmlns:a16="http://schemas.microsoft.com/office/drawing/2014/main" id="{5F17B382-E43F-E096-3081-93E4375D5E52}"/>
                  </a:ext>
                </a:extLst>
              </p:cNvPr>
              <p:cNvSpPr/>
              <p:nvPr/>
            </p:nvSpPr>
            <p:spPr>
              <a:xfrm>
                <a:off x="6625571" y="4669370"/>
                <a:ext cx="1857010" cy="756149"/>
              </a:xfrm>
              <a:prstGeom prst="roundRect">
                <a:avLst/>
              </a:prstGeom>
              <a:noFill/>
              <a:ln w="7620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800" dirty="0">
                    <a:solidFill>
                      <a:srgbClr val="000000"/>
                    </a:solidFill>
                  </a:rPr>
                  <a:t>P-</a:t>
                </a:r>
                <a:r>
                  <a:rPr lang="pt-BR" sz="1800" dirty="0" err="1">
                    <a:solidFill>
                      <a:srgbClr val="000000"/>
                    </a:solidFill>
                  </a:rPr>
                  <a:t>Value</a:t>
                </a:r>
                <a:endParaRPr lang="pt-BR" sz="1800" dirty="0">
                  <a:solidFill>
                    <a:srgbClr val="000000"/>
                  </a:solidFill>
                </a:endParaRPr>
              </a:p>
            </p:txBody>
          </p:sp>
        </p:grpSp>
      </p:grpSp>
      <p:sp>
        <p:nvSpPr>
          <p:cNvPr id="53" name="Retângulo 52">
            <a:extLst>
              <a:ext uri="{FF2B5EF4-FFF2-40B4-BE49-F238E27FC236}">
                <a16:creationId xmlns:a16="http://schemas.microsoft.com/office/drawing/2014/main" id="{27762FC9-BF48-58DB-98F2-2E97D5073AE6}"/>
              </a:ext>
            </a:extLst>
          </p:cNvPr>
          <p:cNvSpPr/>
          <p:nvPr/>
        </p:nvSpPr>
        <p:spPr>
          <a:xfrm>
            <a:off x="4280504" y="2136719"/>
            <a:ext cx="1483832" cy="1271390"/>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16426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BCAEEB5-8DB3-1790-C643-4E29A686BDB5}"/>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6EC6AF3-DD01-749C-E1AD-1BD8E312C8DF}"/>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3E6EE62B-364B-AEFC-052D-686C1EE51804}"/>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E27DAC8-4BAC-C71E-D530-AE3BA05F748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A0DE840C-20F0-B6D1-138E-71A28024309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78E59EFC-493A-ABC2-ED88-2C8A54579FB2}"/>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3895FA4B-3154-3367-BB05-1517208B730C}"/>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74A01DA-4DE6-9D09-7679-11A5695D1060}"/>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2A1ADDFC-31E4-2119-EA16-8AC63EDA3C8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AFFC9B31-BEF7-3142-3AC7-A8415FCA4EC3}"/>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3E0BE3C-CB39-5D2E-EE23-8C2221FF11D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BAB61560-046F-7A49-D231-B65FAE161A2D}"/>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572C97A1-155C-7C77-324C-68422FD0B45C}"/>
              </a:ext>
            </a:extLst>
          </p:cNvPr>
          <p:cNvSpPr/>
          <p:nvPr>
            <p:custDataLst>
              <p:tags r:id="rId14"/>
            </p:custDataLst>
          </p:nvPr>
        </p:nvSpPr>
        <p:spPr>
          <a:xfrm>
            <a:off x="1287264" y="1617505"/>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72AA94C6-F8D6-C687-BF1B-C049E83EB4D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8336E4A-3EB2-102B-D795-DC518AC6B177}"/>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6BEEACF0-290D-3B86-D1F5-E66581255FDE}"/>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42912861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18DC03D5-3EDC-A4AF-7360-5B40A07F16FE}"/>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B7ADE795-9935-AF6F-A624-BD4A7EF5B2D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2D2040EF-3726-81C2-188B-F4FBF46DC482}"/>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F48E7C3-62AF-B29C-7487-6EC7A1128146}"/>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18C3D0C8-05E1-4F01-5E40-20E6D57B48F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B8678458-1DE0-E2DF-9B46-28F0ADFFA161}"/>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ECAABDE-E3F6-E6DD-B8FC-20B6615D99F5}"/>
              </a:ext>
            </a:extLst>
          </p:cNvPr>
          <p:cNvSpPr/>
          <p:nvPr>
            <p:custDataLst>
              <p:tags r:id="rId8"/>
            </p:custDataLst>
          </p:nvPr>
        </p:nvSpPr>
        <p:spPr>
          <a:xfrm>
            <a:off x="1287264" y="2786769"/>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9A13A035-DED8-CC67-D17B-5F3409E160BA}"/>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dirty="0" err="1">
                <a:solidFill>
                  <a:srgbClr val="FFFFFF">
                    <a:lumMod val="100000"/>
                  </a:srgbClr>
                </a:solidFill>
                <a:latin typeface="Calibri" panose="020F0502020204030204" pitchFamily="34" charset="0"/>
              </a:rPr>
              <a:t>Materials</a:t>
            </a:r>
            <a:r>
              <a:rPr lang="pt-BR" sz="2200" dirty="0">
                <a:solidFill>
                  <a:srgbClr val="FFFFFF">
                    <a:lumMod val="100000"/>
                  </a:srgbClr>
                </a:solidFill>
                <a:latin typeface="Calibri" panose="020F0502020204030204" pitchFamily="34" charset="0"/>
              </a:rPr>
              <a:t> </a:t>
            </a:r>
            <a:r>
              <a:rPr lang="pt-BR" sz="2200" dirty="0" err="1">
                <a:solidFill>
                  <a:srgbClr val="FFFFFF">
                    <a:lumMod val="100000"/>
                  </a:srgbClr>
                </a:solidFill>
                <a:latin typeface="Calibri" panose="020F0502020204030204" pitchFamily="34" charset="0"/>
              </a:rPr>
              <a:t>and</a:t>
            </a:r>
            <a:r>
              <a:rPr lang="pt-BR" sz="2200" dirty="0">
                <a:solidFill>
                  <a:srgbClr val="FFFFFF">
                    <a:lumMod val="100000"/>
                  </a:srgbClr>
                </a:solidFill>
                <a:latin typeface="Calibri" panose="020F0502020204030204" pitchFamily="34" charset="0"/>
              </a:rPr>
              <a:t> </a:t>
            </a:r>
            <a:r>
              <a:rPr lang="pt-BR" sz="2200" dirty="0" err="1">
                <a:solidFill>
                  <a:srgbClr val="FFFFFF">
                    <a:lumMod val="100000"/>
                  </a:srgbClr>
                </a:solidFill>
                <a:latin typeface="Calibri" panose="020F0502020204030204" pitchFamily="34" charset="0"/>
              </a:rPr>
              <a:t>Methods</a:t>
            </a:r>
            <a:endParaRPr lang="pt-BR" sz="2200" dirty="0">
              <a:solidFill>
                <a:srgbClr val="FFFFFF">
                  <a:lumMod val="100000"/>
                </a:srgbClr>
              </a:solidFill>
              <a:latin typeface="Calibri" panose="020F0502020204030204" pitchFamily="34" charset="0"/>
            </a:endParaRPr>
          </a:p>
        </p:txBody>
      </p:sp>
      <p:sp>
        <p:nvSpPr>
          <p:cNvPr id="60" name="Retângulo 59">
            <a:hlinkClick r:id="rId21" action="ppaction://hlinksldjump"/>
            <a:extLst>
              <a:ext uri="{FF2B5EF4-FFF2-40B4-BE49-F238E27FC236}">
                <a16:creationId xmlns:a16="http://schemas.microsoft.com/office/drawing/2014/main" id="{DD3BC8B5-C103-AAB1-FACF-4F8C81CE4EF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CC53FA12-367E-E1BD-6D93-DA17DFDF8F86}"/>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17ABAF6-C267-FCC9-20D9-8C44554E8472}"/>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3814FE63-D39C-32A3-D5B5-8A49DD77FE96}"/>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8F58096-E91F-C167-0133-7CFDB1564792}"/>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814A359-ED6F-F4E4-0FFA-C90390C99C29}"/>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32D70B98-F95A-B273-0F51-AE0BEC6D3AF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A50AE4D8-CFCD-F0DA-D161-3ECE687FF737}"/>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188805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6" name="Retângulo 5">
            <a:extLst>
              <a:ext uri="{FF2B5EF4-FFF2-40B4-BE49-F238E27FC236}">
                <a16:creationId xmlns:a16="http://schemas.microsoft.com/office/drawing/2014/main" id="{33DB97D0-5635-1020-23A9-665E301BF1C0}"/>
              </a:ext>
            </a:extLst>
          </p:cNvPr>
          <p:cNvSpPr/>
          <p:nvPr/>
        </p:nvSpPr>
        <p:spPr>
          <a:xfrm>
            <a:off x="2182761" y="791521"/>
            <a:ext cx="7195388"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1834338" cy="5227143"/>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8" name="Retângulo 7">
            <a:extLst>
              <a:ext uri="{FF2B5EF4-FFF2-40B4-BE49-F238E27FC236}">
                <a16:creationId xmlns:a16="http://schemas.microsoft.com/office/drawing/2014/main" id="{C252D160-0523-0B95-C941-8D216A6A6522}"/>
              </a:ext>
            </a:extLst>
          </p:cNvPr>
          <p:cNvSpPr/>
          <p:nvPr/>
        </p:nvSpPr>
        <p:spPr>
          <a:xfrm>
            <a:off x="2182760" y="698090"/>
            <a:ext cx="7348589" cy="5416806"/>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2" name="Retângulo 11">
            <a:extLst>
              <a:ext uri="{FF2B5EF4-FFF2-40B4-BE49-F238E27FC236}">
                <a16:creationId xmlns:a16="http://schemas.microsoft.com/office/drawing/2014/main" id="{64572CA9-E6B6-B647-2D40-B828700A1A5E}"/>
              </a:ext>
            </a:extLst>
          </p:cNvPr>
          <p:cNvSpPr/>
          <p:nvPr/>
        </p:nvSpPr>
        <p:spPr>
          <a:xfrm>
            <a:off x="6118320" y="933776"/>
            <a:ext cx="2557404" cy="2191257"/>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8040EE04-AC8C-FEDC-D701-A9CFE6D7CFE9}"/>
              </a:ext>
            </a:extLst>
          </p:cNvPr>
          <p:cNvPicPr>
            <a:picLocks noChangeAspect="1"/>
          </p:cNvPicPr>
          <p:nvPr/>
        </p:nvPicPr>
        <p:blipFill>
          <a:blip r:embed="rId4"/>
          <a:stretch>
            <a:fillRect/>
          </a:stretch>
        </p:blipFill>
        <p:spPr>
          <a:xfrm>
            <a:off x="6329858" y="962240"/>
            <a:ext cx="2134328" cy="2134328"/>
          </a:xfrm>
          <a:prstGeom prst="rect">
            <a:avLst/>
          </a:prstGeom>
          <a:noFill/>
        </p:spPr>
      </p:pic>
      <p:sp>
        <p:nvSpPr>
          <p:cNvPr id="11" name="Retângulo 10">
            <a:extLst>
              <a:ext uri="{FF2B5EF4-FFF2-40B4-BE49-F238E27FC236}">
                <a16:creationId xmlns:a16="http://schemas.microsoft.com/office/drawing/2014/main" id="{8410385A-0911-7E3F-7B1C-4C8132D05660}"/>
              </a:ext>
            </a:extLst>
          </p:cNvPr>
          <p:cNvSpPr/>
          <p:nvPr/>
        </p:nvSpPr>
        <p:spPr>
          <a:xfrm>
            <a:off x="2738352" y="2338480"/>
            <a:ext cx="2557404" cy="2191257"/>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0" name="Imagem 9">
            <a:extLst>
              <a:ext uri="{FF2B5EF4-FFF2-40B4-BE49-F238E27FC236}">
                <a16:creationId xmlns:a16="http://schemas.microsoft.com/office/drawing/2014/main" id="{38544BEE-07E7-76A7-AB6D-5744FFBD475B}"/>
              </a:ext>
            </a:extLst>
          </p:cNvPr>
          <p:cNvPicPr>
            <a:picLocks noChangeAspect="1"/>
          </p:cNvPicPr>
          <p:nvPr/>
        </p:nvPicPr>
        <p:blipFill>
          <a:blip r:embed="rId5"/>
          <a:stretch>
            <a:fillRect/>
          </a:stretch>
        </p:blipFill>
        <p:spPr>
          <a:xfrm>
            <a:off x="3021826" y="2438880"/>
            <a:ext cx="1990457" cy="1990457"/>
          </a:xfrm>
          <a:prstGeom prst="rect">
            <a:avLst/>
          </a:prstGeom>
        </p:spPr>
      </p:pic>
      <p:sp>
        <p:nvSpPr>
          <p:cNvPr id="13" name="Retângulo 12">
            <a:extLst>
              <a:ext uri="{FF2B5EF4-FFF2-40B4-BE49-F238E27FC236}">
                <a16:creationId xmlns:a16="http://schemas.microsoft.com/office/drawing/2014/main" id="{0B380E81-1678-F78D-88EB-F32BB885FFC4}"/>
              </a:ext>
            </a:extLst>
          </p:cNvPr>
          <p:cNvSpPr/>
          <p:nvPr/>
        </p:nvSpPr>
        <p:spPr>
          <a:xfrm>
            <a:off x="6118320" y="3743183"/>
            <a:ext cx="2557404" cy="2191257"/>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5" name="Picture 8" descr="Tactile Contact Lenses for Blind Person - Solution-Lens.com">
            <a:extLst>
              <a:ext uri="{FF2B5EF4-FFF2-40B4-BE49-F238E27FC236}">
                <a16:creationId xmlns:a16="http://schemas.microsoft.com/office/drawing/2014/main" id="{6549ECA8-A536-F812-70DA-F752B2A71225}"/>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32754" y="3860767"/>
            <a:ext cx="1928537" cy="1956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89319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8" name="Retângulo 7">
            <a:extLst>
              <a:ext uri="{FF2B5EF4-FFF2-40B4-BE49-F238E27FC236}">
                <a16:creationId xmlns:a16="http://schemas.microsoft.com/office/drawing/2014/main" id="{97384AF5-70DE-C3FF-36A8-7B76507B5272}"/>
              </a:ext>
            </a:extLst>
          </p:cNvPr>
          <p:cNvSpPr/>
          <p:nvPr/>
        </p:nvSpPr>
        <p:spPr>
          <a:xfrm>
            <a:off x="4063712" y="792000"/>
            <a:ext cx="5287490" cy="522666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9" name="Retângulo 8">
            <a:extLst>
              <a:ext uri="{FF2B5EF4-FFF2-40B4-BE49-F238E27FC236}">
                <a16:creationId xmlns:a16="http://schemas.microsoft.com/office/drawing/2014/main" id="{B3A8CC3E-3245-DDC7-9970-45DC75ECEF2C}"/>
              </a:ext>
            </a:extLst>
          </p:cNvPr>
          <p:cNvSpPr/>
          <p:nvPr/>
        </p:nvSpPr>
        <p:spPr>
          <a:xfrm>
            <a:off x="2196235" y="792000"/>
            <a:ext cx="1867477"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2000"/>
            <a:ext cx="1854003" cy="522666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3" name="Retângulo 12">
            <a:extLst>
              <a:ext uri="{FF2B5EF4-FFF2-40B4-BE49-F238E27FC236}">
                <a16:creationId xmlns:a16="http://schemas.microsoft.com/office/drawing/2014/main" id="{8FA054D2-FA23-252B-8FA9-5AFCDFFAA091}"/>
              </a:ext>
            </a:extLst>
          </p:cNvPr>
          <p:cNvSpPr/>
          <p:nvPr/>
        </p:nvSpPr>
        <p:spPr>
          <a:xfrm>
            <a:off x="4063711" y="730250"/>
            <a:ext cx="5397789" cy="5384646"/>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Retângulo 14">
            <a:extLst>
              <a:ext uri="{FF2B5EF4-FFF2-40B4-BE49-F238E27FC236}">
                <a16:creationId xmlns:a16="http://schemas.microsoft.com/office/drawing/2014/main" id="{D40F7538-07AB-1274-0112-FD8E98DEBACB}"/>
              </a:ext>
            </a:extLst>
          </p:cNvPr>
          <p:cNvSpPr/>
          <p:nvPr/>
        </p:nvSpPr>
        <p:spPr>
          <a:xfrm>
            <a:off x="165905" y="730250"/>
            <a:ext cx="2030329" cy="538512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1" name="Retângulo 10">
            <a:extLst>
              <a:ext uri="{FF2B5EF4-FFF2-40B4-BE49-F238E27FC236}">
                <a16:creationId xmlns:a16="http://schemas.microsoft.com/office/drawing/2014/main" id="{31D5B4E2-C70B-FF09-D158-50ABB7EC3761}"/>
              </a:ext>
            </a:extLst>
          </p:cNvPr>
          <p:cNvSpPr/>
          <p:nvPr/>
        </p:nvSpPr>
        <p:spPr>
          <a:xfrm>
            <a:off x="4924697" y="919453"/>
            <a:ext cx="1999955" cy="171361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0" name="Imagem 9">
            <a:extLst>
              <a:ext uri="{FF2B5EF4-FFF2-40B4-BE49-F238E27FC236}">
                <a16:creationId xmlns:a16="http://schemas.microsoft.com/office/drawing/2014/main" id="{477E9262-8D08-A4EA-8D53-1304F867D5FC}"/>
              </a:ext>
            </a:extLst>
          </p:cNvPr>
          <p:cNvPicPr>
            <a:picLocks noChangeAspect="1"/>
          </p:cNvPicPr>
          <p:nvPr/>
        </p:nvPicPr>
        <p:blipFill rotWithShape="1">
          <a:blip r:embed="rId4"/>
          <a:srcRect l="9879" t="14317" r="7159" b="13717"/>
          <a:stretch/>
        </p:blipFill>
        <p:spPr>
          <a:xfrm>
            <a:off x="5010967" y="983673"/>
            <a:ext cx="1827416" cy="1585180"/>
          </a:xfrm>
          <a:prstGeom prst="rect">
            <a:avLst/>
          </a:prstGeom>
        </p:spPr>
      </p:pic>
      <p:sp>
        <p:nvSpPr>
          <p:cNvPr id="17" name="Retângulo 16">
            <a:extLst>
              <a:ext uri="{FF2B5EF4-FFF2-40B4-BE49-F238E27FC236}">
                <a16:creationId xmlns:a16="http://schemas.microsoft.com/office/drawing/2014/main" id="{0E1E4FD4-05AB-E9AD-503D-20C2864D2DD7}"/>
              </a:ext>
            </a:extLst>
          </p:cNvPr>
          <p:cNvSpPr/>
          <p:nvPr/>
        </p:nvSpPr>
        <p:spPr>
          <a:xfrm>
            <a:off x="7259988" y="2524711"/>
            <a:ext cx="1999955" cy="171361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8" name="Retângulo 17">
            <a:extLst>
              <a:ext uri="{FF2B5EF4-FFF2-40B4-BE49-F238E27FC236}">
                <a16:creationId xmlns:a16="http://schemas.microsoft.com/office/drawing/2014/main" id="{D2240862-DBA6-8728-B59C-6031E9DD8721}"/>
              </a:ext>
            </a:extLst>
          </p:cNvPr>
          <p:cNvSpPr/>
          <p:nvPr/>
        </p:nvSpPr>
        <p:spPr>
          <a:xfrm>
            <a:off x="4924697" y="4129969"/>
            <a:ext cx="1999955" cy="171361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grpSp>
        <p:nvGrpSpPr>
          <p:cNvPr id="2" name="Agrupar 1">
            <a:extLst>
              <a:ext uri="{FF2B5EF4-FFF2-40B4-BE49-F238E27FC236}">
                <a16:creationId xmlns:a16="http://schemas.microsoft.com/office/drawing/2014/main" id="{2C517E86-4A87-42A2-B349-4A41908ECFF9}"/>
              </a:ext>
            </a:extLst>
          </p:cNvPr>
          <p:cNvGrpSpPr/>
          <p:nvPr/>
        </p:nvGrpSpPr>
        <p:grpSpPr>
          <a:xfrm>
            <a:off x="5056110" y="4242567"/>
            <a:ext cx="1737130" cy="1488424"/>
            <a:chOff x="9873415" y="2851278"/>
            <a:chExt cx="1315550" cy="1225423"/>
          </a:xfrm>
        </p:grpSpPr>
        <p:pic>
          <p:nvPicPr>
            <p:cNvPr id="12" name="Imagem 11">
              <a:extLst>
                <a:ext uri="{FF2B5EF4-FFF2-40B4-BE49-F238E27FC236}">
                  <a16:creationId xmlns:a16="http://schemas.microsoft.com/office/drawing/2014/main" id="{68738CE7-E773-6479-370E-B2303098BA74}"/>
                </a:ext>
              </a:extLst>
            </p:cNvPr>
            <p:cNvPicPr>
              <a:picLocks noChangeAspect="1"/>
            </p:cNvPicPr>
            <p:nvPr/>
          </p:nvPicPr>
          <p:blipFill>
            <a:blip r:embed="rId5"/>
            <a:stretch>
              <a:fillRect/>
            </a:stretch>
          </p:blipFill>
          <p:spPr>
            <a:xfrm>
              <a:off x="10553338" y="2851278"/>
              <a:ext cx="635627" cy="635627"/>
            </a:xfrm>
            <a:prstGeom prst="rect">
              <a:avLst/>
            </a:prstGeom>
          </p:spPr>
        </p:pic>
        <p:pic>
          <p:nvPicPr>
            <p:cNvPr id="16" name="Picture 8" descr="Tactile Contact Lenses for Blind Person - Solution-Lens.com">
              <a:extLst>
                <a:ext uri="{FF2B5EF4-FFF2-40B4-BE49-F238E27FC236}">
                  <a16:creationId xmlns:a16="http://schemas.microsoft.com/office/drawing/2014/main" id="{E8788B7A-FDD7-0F52-7F3A-6E263BF8816E}"/>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73415" y="3029222"/>
              <a:ext cx="1032727" cy="1047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643185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Texto 2">
            <a:extLst>
              <a:ext uri="{FF2B5EF4-FFF2-40B4-BE49-F238E27FC236}">
                <a16:creationId xmlns:a16="http://schemas.microsoft.com/office/drawing/2014/main" id="{B9F68152-24BC-D512-1290-17C6A6DB7425}"/>
              </a:ext>
            </a:extLst>
          </p:cNvPr>
          <p:cNvSpPr>
            <a:spLocks noGrp="1"/>
          </p:cNvSpPr>
          <p:nvPr>
            <p:ph type="body" idx="2"/>
          </p:nvPr>
        </p:nvSpPr>
        <p:spPr/>
        <p:txBody>
          <a:bodyPr/>
          <a:lstStyle/>
          <a:p>
            <a:endParaRPr lang="pt-BR"/>
          </a:p>
        </p:txBody>
      </p:sp>
      <p:sp>
        <p:nvSpPr>
          <p:cNvPr id="4" name="Espaço Reservado para Texto 3">
            <a:extLst>
              <a:ext uri="{FF2B5EF4-FFF2-40B4-BE49-F238E27FC236}">
                <a16:creationId xmlns:a16="http://schemas.microsoft.com/office/drawing/2014/main" id="{DE1B861C-C3A6-3B6D-F6D0-30C9ACCF8765}"/>
              </a:ext>
            </a:extLst>
          </p:cNvPr>
          <p:cNvSpPr>
            <a:spLocks noGrp="1"/>
          </p:cNvSpPr>
          <p:nvPr>
            <p:ph type="body" idx="3"/>
          </p:nvPr>
        </p:nvSpPr>
        <p:spPr/>
        <p:txBody>
          <a:bodyPr/>
          <a:lstStyle/>
          <a:p>
            <a:endParaRPr lang="pt-BR" dirty="0"/>
          </a:p>
        </p:txBody>
      </p:sp>
      <p:pic>
        <p:nvPicPr>
          <p:cNvPr id="73" name="Imagem 72">
            <a:extLst>
              <a:ext uri="{FF2B5EF4-FFF2-40B4-BE49-F238E27FC236}">
                <a16:creationId xmlns:a16="http://schemas.microsoft.com/office/drawing/2014/main" id="{20ED966B-FE2A-07C4-8D0E-F65532161AC6}"/>
              </a:ext>
            </a:extLst>
          </p:cNvPr>
          <p:cNvPicPr>
            <a:picLocks noChangeAspect="1"/>
          </p:cNvPicPr>
          <p:nvPr/>
        </p:nvPicPr>
        <p:blipFill>
          <a:blip r:embed="rId2">
            <a:duotone>
              <a:schemeClr val="accent3">
                <a:shade val="45000"/>
                <a:satMod val="135000"/>
              </a:schemeClr>
              <a:prstClr val="white"/>
            </a:duotone>
          </a:blip>
          <a:stretch>
            <a:fillRect/>
          </a:stretch>
        </p:blipFill>
        <p:spPr>
          <a:xfrm>
            <a:off x="2328217" y="990259"/>
            <a:ext cx="4877481" cy="4877481"/>
          </a:xfrm>
          <a:prstGeom prst="rect">
            <a:avLst/>
          </a:prstGeom>
        </p:spPr>
      </p:pic>
      <p:pic>
        <p:nvPicPr>
          <p:cNvPr id="75" name="Imagem 74">
            <a:extLst>
              <a:ext uri="{FF2B5EF4-FFF2-40B4-BE49-F238E27FC236}">
                <a16:creationId xmlns:a16="http://schemas.microsoft.com/office/drawing/2014/main" id="{0F8AABB1-9A6D-A93F-B264-1E5CD6E3FFCC}"/>
              </a:ext>
            </a:extLst>
          </p:cNvPr>
          <p:cNvPicPr>
            <a:picLocks noChangeAspect="1"/>
          </p:cNvPicPr>
          <p:nvPr/>
        </p:nvPicPr>
        <p:blipFill>
          <a:blip r:embed="rId3"/>
          <a:stretch>
            <a:fillRect/>
          </a:stretch>
        </p:blipFill>
        <p:spPr>
          <a:xfrm>
            <a:off x="7470791" y="2592347"/>
            <a:ext cx="1578348" cy="1578348"/>
          </a:xfrm>
          <a:prstGeom prst="rect">
            <a:avLst/>
          </a:prstGeom>
        </p:spPr>
      </p:pic>
    </p:spTree>
    <p:extLst>
      <p:ext uri="{BB962C8B-B14F-4D97-AF65-F5344CB8AC3E}">
        <p14:creationId xmlns:p14="http://schemas.microsoft.com/office/powerpoint/2010/main" val="4439991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9" name="Retângulo 8">
            <a:extLst>
              <a:ext uri="{FF2B5EF4-FFF2-40B4-BE49-F238E27FC236}">
                <a16:creationId xmlns:a16="http://schemas.microsoft.com/office/drawing/2014/main" id="{2A2BCD31-AADF-0347-40F5-FACC0325264C}"/>
              </a:ext>
            </a:extLst>
          </p:cNvPr>
          <p:cNvSpPr/>
          <p:nvPr/>
        </p:nvSpPr>
        <p:spPr>
          <a:xfrm>
            <a:off x="5742041" y="792000"/>
            <a:ext cx="3636107" cy="522666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8" name="Retângulo 7">
            <a:extLst>
              <a:ext uri="{FF2B5EF4-FFF2-40B4-BE49-F238E27FC236}">
                <a16:creationId xmlns:a16="http://schemas.microsoft.com/office/drawing/2014/main" id="{A7BCA2B2-7BF8-6759-DFE8-9D3F5D4F0C45}"/>
              </a:ext>
            </a:extLst>
          </p:cNvPr>
          <p:cNvSpPr/>
          <p:nvPr/>
        </p:nvSpPr>
        <p:spPr>
          <a:xfrm>
            <a:off x="3998005" y="792000"/>
            <a:ext cx="1867477"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2000"/>
            <a:ext cx="3636108" cy="5226664"/>
          </a:xfrm>
          <a:prstGeom prst="rect">
            <a:avLst/>
          </a:prstGeom>
          <a:solidFill>
            <a:srgbClr val="D2D2D2"/>
          </a:solidFill>
          <a:ln w="25400" cap="flat" cmpd="sng" algn="ctr">
            <a:solidFill>
              <a:srgbClr val="D2D2D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3" name="Retângulo 12">
            <a:extLst>
              <a:ext uri="{FF2B5EF4-FFF2-40B4-BE49-F238E27FC236}">
                <a16:creationId xmlns:a16="http://schemas.microsoft.com/office/drawing/2014/main" id="{8793AC16-6DAB-3EB1-46BA-E3F2264A0134}"/>
              </a:ext>
            </a:extLst>
          </p:cNvPr>
          <p:cNvSpPr/>
          <p:nvPr/>
        </p:nvSpPr>
        <p:spPr>
          <a:xfrm>
            <a:off x="5865481" y="704850"/>
            <a:ext cx="3636107" cy="541052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Retângulo 14">
            <a:extLst>
              <a:ext uri="{FF2B5EF4-FFF2-40B4-BE49-F238E27FC236}">
                <a16:creationId xmlns:a16="http://schemas.microsoft.com/office/drawing/2014/main" id="{7E787E34-CC39-192C-E0A0-92F4276392F4}"/>
              </a:ext>
            </a:extLst>
          </p:cNvPr>
          <p:cNvSpPr/>
          <p:nvPr/>
        </p:nvSpPr>
        <p:spPr>
          <a:xfrm>
            <a:off x="120650" y="704850"/>
            <a:ext cx="3877353" cy="541052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0" name="Retângulo 9">
            <a:extLst>
              <a:ext uri="{FF2B5EF4-FFF2-40B4-BE49-F238E27FC236}">
                <a16:creationId xmlns:a16="http://schemas.microsoft.com/office/drawing/2014/main" id="{F3C8C53C-57B8-2507-6C74-C0302D799286}"/>
              </a:ext>
            </a:extLst>
          </p:cNvPr>
          <p:cNvSpPr/>
          <p:nvPr/>
        </p:nvSpPr>
        <p:spPr>
          <a:xfrm>
            <a:off x="1307998" y="1117378"/>
            <a:ext cx="1716958" cy="1432837"/>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8" name="Retângulo 17">
            <a:extLst>
              <a:ext uri="{FF2B5EF4-FFF2-40B4-BE49-F238E27FC236}">
                <a16:creationId xmlns:a16="http://schemas.microsoft.com/office/drawing/2014/main" id="{B5913B52-E05C-96D9-8E9C-3EE6FFC569F7}"/>
              </a:ext>
            </a:extLst>
          </p:cNvPr>
          <p:cNvSpPr/>
          <p:nvPr/>
        </p:nvSpPr>
        <p:spPr>
          <a:xfrm>
            <a:off x="1314734" y="4484258"/>
            <a:ext cx="1716958" cy="1432837"/>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 name="Imagem 2">
            <a:extLst>
              <a:ext uri="{FF2B5EF4-FFF2-40B4-BE49-F238E27FC236}">
                <a16:creationId xmlns:a16="http://schemas.microsoft.com/office/drawing/2014/main" id="{40E4DD31-757B-F1A9-FA0A-600009E2AEE8}"/>
              </a:ext>
            </a:extLst>
          </p:cNvPr>
          <p:cNvPicPr>
            <a:picLocks noChangeAspect="1"/>
          </p:cNvPicPr>
          <p:nvPr/>
        </p:nvPicPr>
        <p:blipFill>
          <a:blip r:embed="rId4"/>
          <a:stretch>
            <a:fillRect/>
          </a:stretch>
        </p:blipFill>
        <p:spPr>
          <a:xfrm>
            <a:off x="-4920954" y="897258"/>
            <a:ext cx="4877481" cy="4877481"/>
          </a:xfrm>
          <a:prstGeom prst="rect">
            <a:avLst/>
          </a:prstGeom>
        </p:spPr>
      </p:pic>
      <p:pic>
        <p:nvPicPr>
          <p:cNvPr id="5" name="Imagem 4">
            <a:extLst>
              <a:ext uri="{FF2B5EF4-FFF2-40B4-BE49-F238E27FC236}">
                <a16:creationId xmlns:a16="http://schemas.microsoft.com/office/drawing/2014/main" id="{AFA34B55-179E-6E47-ACE5-A930FD2CA01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467316" y="1177157"/>
            <a:ext cx="1398323" cy="1313279"/>
          </a:xfrm>
          <a:prstGeom prst="rect">
            <a:avLst/>
          </a:prstGeom>
        </p:spPr>
      </p:pic>
      <p:grpSp>
        <p:nvGrpSpPr>
          <p:cNvPr id="6" name="Agrupar 5">
            <a:extLst>
              <a:ext uri="{FF2B5EF4-FFF2-40B4-BE49-F238E27FC236}">
                <a16:creationId xmlns:a16="http://schemas.microsoft.com/office/drawing/2014/main" id="{A91A6603-5E2C-AEE0-4030-7470263AEA1C}"/>
              </a:ext>
            </a:extLst>
          </p:cNvPr>
          <p:cNvGrpSpPr/>
          <p:nvPr/>
        </p:nvGrpSpPr>
        <p:grpSpPr>
          <a:xfrm>
            <a:off x="1477661" y="4418452"/>
            <a:ext cx="1391104" cy="1498643"/>
            <a:chOff x="1477661" y="4418452"/>
            <a:chExt cx="1391104" cy="1498643"/>
          </a:xfrm>
        </p:grpSpPr>
        <p:pic>
          <p:nvPicPr>
            <p:cNvPr id="30" name="Imagem 29">
              <a:extLst>
                <a:ext uri="{FF2B5EF4-FFF2-40B4-BE49-F238E27FC236}">
                  <a16:creationId xmlns:a16="http://schemas.microsoft.com/office/drawing/2014/main" id="{2C44F05C-9642-C751-F44E-270E6E06867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477661" y="4484258"/>
              <a:ext cx="1391104" cy="1432837"/>
            </a:xfrm>
            <a:prstGeom prst="rect">
              <a:avLst/>
            </a:prstGeom>
          </p:spPr>
        </p:pic>
        <p:pic>
          <p:nvPicPr>
            <p:cNvPr id="50" name="Imagem 49">
              <a:extLst>
                <a:ext uri="{FF2B5EF4-FFF2-40B4-BE49-F238E27FC236}">
                  <a16:creationId xmlns:a16="http://schemas.microsoft.com/office/drawing/2014/main" id="{83D01499-DBE4-6EF8-8707-84D5F0BE6636}"/>
                </a:ext>
              </a:extLst>
            </p:cNvPr>
            <p:cNvPicPr>
              <a:picLocks noChangeAspect="1"/>
            </p:cNvPicPr>
            <p:nvPr/>
          </p:nvPicPr>
          <p:blipFill rotWithShape="1">
            <a:blip r:embed="rId7">
              <a:clrChange>
                <a:clrFrom>
                  <a:srgbClr val="FFFFFF"/>
                </a:clrFrom>
                <a:clrTo>
                  <a:srgbClr val="FFFFFF">
                    <a:alpha val="0"/>
                  </a:srgbClr>
                </a:clrTo>
              </a:clrChange>
            </a:blip>
            <a:srcRect l="55126" b="42894"/>
            <a:stretch/>
          </p:blipFill>
          <p:spPr>
            <a:xfrm>
              <a:off x="2250280" y="4418452"/>
              <a:ext cx="615359" cy="829097"/>
            </a:xfrm>
            <a:prstGeom prst="rect">
              <a:avLst/>
            </a:prstGeom>
          </p:spPr>
        </p:pic>
      </p:grpSp>
    </p:spTree>
    <p:extLst>
      <p:ext uri="{BB962C8B-B14F-4D97-AF65-F5344CB8AC3E}">
        <p14:creationId xmlns:p14="http://schemas.microsoft.com/office/powerpoint/2010/main" val="467083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8" name="Retângulo 7">
            <a:extLst>
              <a:ext uri="{FF2B5EF4-FFF2-40B4-BE49-F238E27FC236}">
                <a16:creationId xmlns:a16="http://schemas.microsoft.com/office/drawing/2014/main" id="{4FAB6DFE-BAD6-6507-63CF-97DFA5717170}"/>
              </a:ext>
            </a:extLst>
          </p:cNvPr>
          <p:cNvSpPr/>
          <p:nvPr/>
        </p:nvSpPr>
        <p:spPr>
          <a:xfrm>
            <a:off x="5765345" y="792000"/>
            <a:ext cx="1894421"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9" name="Retângulo 8">
            <a:extLst>
              <a:ext uri="{FF2B5EF4-FFF2-40B4-BE49-F238E27FC236}">
                <a16:creationId xmlns:a16="http://schemas.microsoft.com/office/drawing/2014/main" id="{D4C8B05F-80E4-FB05-CEFE-E73B859DFC95}"/>
              </a:ext>
            </a:extLst>
          </p:cNvPr>
          <p:cNvSpPr/>
          <p:nvPr/>
        </p:nvSpPr>
        <p:spPr>
          <a:xfrm>
            <a:off x="7659766" y="791521"/>
            <a:ext cx="1718382"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5416922"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3" name="Retângulo 12">
            <a:extLst>
              <a:ext uri="{FF2B5EF4-FFF2-40B4-BE49-F238E27FC236}">
                <a16:creationId xmlns:a16="http://schemas.microsoft.com/office/drawing/2014/main" id="{99791F82-D352-060D-C251-BAC26CE338B2}"/>
              </a:ext>
            </a:extLst>
          </p:cNvPr>
          <p:cNvSpPr/>
          <p:nvPr/>
        </p:nvSpPr>
        <p:spPr>
          <a:xfrm>
            <a:off x="7659764" y="791522"/>
            <a:ext cx="1718382"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Retângulo 14">
            <a:extLst>
              <a:ext uri="{FF2B5EF4-FFF2-40B4-BE49-F238E27FC236}">
                <a16:creationId xmlns:a16="http://schemas.microsoft.com/office/drawing/2014/main" id="{8BCC088F-0EA2-BF30-D1CD-6B92A7B51E13}"/>
              </a:ext>
            </a:extLst>
          </p:cNvPr>
          <p:cNvSpPr/>
          <p:nvPr/>
        </p:nvSpPr>
        <p:spPr>
          <a:xfrm>
            <a:off x="321479" y="723900"/>
            <a:ext cx="5443866" cy="5390996"/>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19966561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8" name="Retângulo 7">
            <a:extLst>
              <a:ext uri="{FF2B5EF4-FFF2-40B4-BE49-F238E27FC236}">
                <a16:creationId xmlns:a16="http://schemas.microsoft.com/office/drawing/2014/main" id="{437E1CC8-0BAE-8F95-F330-6263F65D5072}"/>
              </a:ext>
            </a:extLst>
          </p:cNvPr>
          <p:cNvSpPr/>
          <p:nvPr/>
        </p:nvSpPr>
        <p:spPr>
          <a:xfrm>
            <a:off x="7483728" y="792000"/>
            <a:ext cx="1894421" cy="522666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Materials and Methods: </a:t>
            </a:r>
            <a:r>
              <a:rPr lang="en-US" b="0" i="1" dirty="0"/>
              <a:t>Methods</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7135305" cy="5227143"/>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0" name="Retângulo 9">
            <a:extLst>
              <a:ext uri="{FF2B5EF4-FFF2-40B4-BE49-F238E27FC236}">
                <a16:creationId xmlns:a16="http://schemas.microsoft.com/office/drawing/2014/main" id="{6DE9378D-0D33-B067-FDDE-3371D55F9834}"/>
              </a:ext>
            </a:extLst>
          </p:cNvPr>
          <p:cNvSpPr/>
          <p:nvPr/>
        </p:nvSpPr>
        <p:spPr>
          <a:xfrm>
            <a:off x="334949" y="792000"/>
            <a:ext cx="7148779"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0668061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6CF33F7A-DDD7-9EE9-9795-170E5503171C}"/>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F5E07B5-E179-8DBD-5D7C-7D4D98962BE9}"/>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B20EEF5-85B6-CDAC-554C-E3193232ED3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195593EF-8054-94DE-9AE9-2CA520335FD3}"/>
              </a:ext>
            </a:extLst>
          </p:cNvPr>
          <p:cNvSpPr/>
          <p:nvPr>
            <p:custDataLst>
              <p:tags r:id="rId5"/>
            </p:custDataLst>
          </p:nvPr>
        </p:nvSpPr>
        <p:spPr>
          <a:xfrm>
            <a:off x="1287264" y="3371401"/>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8EABAA0F-0E7C-58AC-B5FD-F758EC8E3BE6}"/>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C015E40B-5A8D-7E73-BE4C-378C572104C9}"/>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40511E78-5848-7330-F72E-E7E3719119A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8CAE7762-1334-D983-8D48-C46FD6618123}"/>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F8873310-BCCE-CEAA-FC89-028FDE3FDC3E}"/>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523A40E0-4939-BEF7-BEA2-824BB3396D97}"/>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0B622BBF-AFE6-4110-BD32-207C2683E6BE}"/>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23D28605-FB94-DC2A-4B31-5AF257B84571}"/>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A0D2650-B7AA-9235-F49D-F74D6006B3AC}"/>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BFAD9E2-5F89-2B21-5FF2-3951F04FB640}"/>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495B2BD-3CC2-C8BF-631F-508170560C83}"/>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5D8C2F12-D4C4-EDF5-B1D4-4C0ACB37F51B}"/>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8515034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EEC5E00-35D6-8B49-C8AE-A7B10EA51F9B}"/>
              </a:ext>
            </a:extLst>
          </p:cNvPr>
          <p:cNvSpPr/>
          <p:nvPr>
            <p:custDataLst>
              <p:tags r:id="rId2"/>
            </p:custDataLst>
          </p:nvPr>
        </p:nvSpPr>
        <p:spPr>
          <a:xfrm>
            <a:off x="1287264" y="3956033"/>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724F318-F865-0D16-3B63-A742439EC88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dirty="0" err="1">
                <a:solidFill>
                  <a:srgbClr val="FFFFFF">
                    <a:lumMod val="100000"/>
                  </a:srgbClr>
                </a:solidFill>
                <a:latin typeface="Calibri" panose="020F0502020204030204" pitchFamily="34" charset="0"/>
              </a:rPr>
              <a:t>Conclusion</a:t>
            </a:r>
            <a:r>
              <a:rPr lang="pt-BR" sz="2200" dirty="0">
                <a:solidFill>
                  <a:srgbClr val="FFFFFF">
                    <a:lumMod val="100000"/>
                  </a:srgbClr>
                </a:solidFill>
                <a:latin typeface="Calibri" panose="020F0502020204030204" pitchFamily="34" charset="0"/>
              </a:rPr>
              <a:t> </a:t>
            </a:r>
            <a:r>
              <a:rPr lang="pt-BR" sz="2200" dirty="0" err="1">
                <a:solidFill>
                  <a:srgbClr val="FFFFFF">
                    <a:lumMod val="100000"/>
                  </a:srgbClr>
                </a:solidFill>
                <a:latin typeface="Calibri" panose="020F0502020204030204" pitchFamily="34" charset="0"/>
              </a:rPr>
              <a:t>and</a:t>
            </a:r>
            <a:r>
              <a:rPr lang="pt-BR" sz="2200" dirty="0">
                <a:solidFill>
                  <a:srgbClr val="FFFFFF">
                    <a:lumMod val="100000"/>
                  </a:srgbClr>
                </a:solidFill>
                <a:latin typeface="Calibri" panose="020F0502020204030204" pitchFamily="34" charset="0"/>
              </a:rPr>
              <a:t> </a:t>
            </a:r>
            <a:r>
              <a:rPr lang="pt-BR" sz="2200" dirty="0" err="1">
                <a:solidFill>
                  <a:srgbClr val="FFFFFF">
                    <a:lumMod val="100000"/>
                  </a:srgbClr>
                </a:solidFill>
                <a:latin typeface="Calibri" panose="020F0502020204030204" pitchFamily="34" charset="0"/>
              </a:rPr>
              <a:t>outlook</a:t>
            </a:r>
            <a:endParaRPr lang="pt-BR" sz="2200" dirty="0">
              <a:solidFill>
                <a:srgbClr val="FFFFFF">
                  <a:lumMod val="100000"/>
                </a:srgbClr>
              </a:solidFill>
              <a:latin typeface="Calibri" panose="020F0502020204030204" pitchFamily="34" charset="0"/>
            </a:endParaRPr>
          </a:p>
        </p:txBody>
      </p:sp>
      <p:sp>
        <p:nvSpPr>
          <p:cNvPr id="66" name="Retângulo 65">
            <a:hlinkClick r:id="rId19" action="ppaction://hlinksldjump"/>
            <a:extLst>
              <a:ext uri="{FF2B5EF4-FFF2-40B4-BE49-F238E27FC236}">
                <a16:creationId xmlns:a16="http://schemas.microsoft.com/office/drawing/2014/main" id="{9F471C1F-FAAA-1BA2-54B6-463E3CF08430}"/>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27A74FB1-B89D-2880-03A7-BD659E5F845F}"/>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38AD8FE3-C173-0C6E-F4E7-0997FA6A7E24}"/>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3F991359-B3C9-2443-2C62-BAC9A426D51E}"/>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C69A552-2DCB-1DEA-3102-6998CA3D1F7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26AE01E5-1499-EA6D-26B8-12C7E2F694B8}"/>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8489F0FE-3B81-6245-851C-1E080F5F340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FC085198-59EC-3FD4-4FC5-98946FE1D56A}"/>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7C1426AF-9601-58A7-7BF3-A278E5E1F490}"/>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E98543A3-2D0F-A2B0-6F15-C16FA8DA172B}"/>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24D3DE8E-6B3C-5001-E20C-DD5C983B9B7D}"/>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89F5FFFD-EC07-B5C5-736C-D5AE489B6FBE}"/>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F06BD4F-4347-DE94-CBCA-AB1D2DE983EA}"/>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2F4AFD4-24E2-0F81-7A3F-C46524B023B0}"/>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6556724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35" name="Retângulo 34">
            <a:extLst>
              <a:ext uri="{FF2B5EF4-FFF2-40B4-BE49-F238E27FC236}">
                <a16:creationId xmlns:a16="http://schemas.microsoft.com/office/drawing/2014/main" id="{06EEDD14-894E-2C26-6583-4098006ACEF3}"/>
              </a:ext>
            </a:extLst>
          </p:cNvPr>
          <p:cNvSpPr/>
          <p:nvPr/>
        </p:nvSpPr>
        <p:spPr>
          <a:xfrm>
            <a:off x="334949" y="2635502"/>
            <a:ext cx="4371810" cy="3383162"/>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Conclusion and outlook: </a:t>
            </a:r>
            <a:r>
              <a:rPr lang="en-US" b="0" i="1" dirty="0"/>
              <a:t>Conclusions</a:t>
            </a:r>
          </a:p>
        </p:txBody>
      </p:sp>
      <p:grpSp>
        <p:nvGrpSpPr>
          <p:cNvPr id="3" name="Agrupar 2">
            <a:extLst>
              <a:ext uri="{FF2B5EF4-FFF2-40B4-BE49-F238E27FC236}">
                <a16:creationId xmlns:a16="http://schemas.microsoft.com/office/drawing/2014/main" id="{9D5A7801-B653-8FBB-5F08-C9ED51CA2204}"/>
              </a:ext>
            </a:extLst>
          </p:cNvPr>
          <p:cNvGrpSpPr/>
          <p:nvPr/>
        </p:nvGrpSpPr>
        <p:grpSpPr>
          <a:xfrm>
            <a:off x="334949" y="792000"/>
            <a:ext cx="4371810" cy="1889280"/>
            <a:chOff x="334949" y="1008019"/>
            <a:chExt cx="4371810" cy="1889280"/>
          </a:xfrm>
        </p:grpSpPr>
        <p:sp>
          <p:nvSpPr>
            <p:cNvPr id="2" name="Retângulo 1">
              <a:extLst>
                <a:ext uri="{FF2B5EF4-FFF2-40B4-BE49-F238E27FC236}">
                  <a16:creationId xmlns:a16="http://schemas.microsoft.com/office/drawing/2014/main" id="{55E4EA3B-46BE-210B-FE9A-756E9E272DFC}"/>
                </a:ext>
              </a:extLst>
            </p:cNvPr>
            <p:cNvSpPr/>
            <p:nvPr/>
          </p:nvSpPr>
          <p:spPr>
            <a:xfrm>
              <a:off x="334949" y="137622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1400005"/>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008019"/>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grpSp>
      <p:grpSp>
        <p:nvGrpSpPr>
          <p:cNvPr id="4" name="Agrupar 3">
            <a:extLst>
              <a:ext uri="{FF2B5EF4-FFF2-40B4-BE49-F238E27FC236}">
                <a16:creationId xmlns:a16="http://schemas.microsoft.com/office/drawing/2014/main" id="{B04835F4-3582-9503-6B0E-C65F2369350B}"/>
              </a:ext>
            </a:extLst>
          </p:cNvPr>
          <p:cNvGrpSpPr/>
          <p:nvPr/>
        </p:nvGrpSpPr>
        <p:grpSpPr>
          <a:xfrm>
            <a:off x="4992866" y="792000"/>
            <a:ext cx="4385282" cy="1913065"/>
            <a:chOff x="4992866" y="1829066"/>
            <a:chExt cx="4385282" cy="1913065"/>
          </a:xfrm>
        </p:grpSpPr>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221052"/>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grpSp>
      <p:sp>
        <p:nvSpPr>
          <p:cNvPr id="36" name="Retângulo 35">
            <a:extLst>
              <a:ext uri="{FF2B5EF4-FFF2-40B4-BE49-F238E27FC236}">
                <a16:creationId xmlns:a16="http://schemas.microsoft.com/office/drawing/2014/main" id="{92FB7F04-40A9-493B-D5D7-05D075E75D7C}"/>
              </a:ext>
            </a:extLst>
          </p:cNvPr>
          <p:cNvSpPr/>
          <p:nvPr/>
        </p:nvSpPr>
        <p:spPr>
          <a:xfrm>
            <a:off x="5006338" y="2681279"/>
            <a:ext cx="4371810" cy="3337385"/>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Google Shape;237;p31">
            <a:extLst>
              <a:ext uri="{FF2B5EF4-FFF2-40B4-BE49-F238E27FC236}">
                <a16:creationId xmlns:a16="http://schemas.microsoft.com/office/drawing/2014/main" id="{F79EBF0A-FB4B-FE8F-0686-8BDC90A7F871}"/>
              </a:ext>
            </a:extLst>
          </p:cNvPr>
          <p:cNvSpPr txBox="1">
            <a:spLocks/>
          </p:cNvSpPr>
          <p:nvPr/>
        </p:nvSpPr>
        <p:spPr>
          <a:xfrm>
            <a:off x="334950" y="2681281"/>
            <a:ext cx="3113100"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Situation awareness</a:t>
            </a:r>
          </a:p>
          <a:p>
            <a:pPr marL="355600" indent="-355600">
              <a:spcBef>
                <a:spcPts val="0"/>
              </a:spcBef>
            </a:pPr>
            <a:r>
              <a:rPr lang="en-US" sz="1800" dirty="0"/>
              <a:t>Mental workload</a:t>
            </a:r>
          </a:p>
          <a:p>
            <a:pPr marL="0" indent="0">
              <a:spcBef>
                <a:spcPts val="0"/>
              </a:spcBef>
              <a:buNone/>
            </a:pPr>
            <a:endParaRPr lang="en-US" sz="2000" dirty="0"/>
          </a:p>
        </p:txBody>
      </p:sp>
      <p:sp>
        <p:nvSpPr>
          <p:cNvPr id="14" name="Freeform 52">
            <a:extLst>
              <a:ext uri="{FF2B5EF4-FFF2-40B4-BE49-F238E27FC236}">
                <a16:creationId xmlns:a16="http://schemas.microsoft.com/office/drawing/2014/main" id="{E6A96A19-21E2-0E76-A525-3E0866FF7ED7}"/>
              </a:ext>
            </a:extLst>
          </p:cNvPr>
          <p:cNvSpPr>
            <a:spLocks/>
          </p:cNvSpPr>
          <p:nvPr/>
        </p:nvSpPr>
        <p:spPr bwMode="auto">
          <a:xfrm>
            <a:off x="2823556" y="2732665"/>
            <a:ext cx="294908" cy="227398"/>
          </a:xfrm>
          <a:custGeom>
            <a:avLst/>
            <a:gdLst>
              <a:gd name="T0" fmla="*/ 9 w 488"/>
              <a:gd name="T1" fmla="*/ 209 h 374"/>
              <a:gd name="T2" fmla="*/ 0 w 488"/>
              <a:gd name="T3" fmla="*/ 187 h 374"/>
              <a:gd name="T4" fmla="*/ 9 w 488"/>
              <a:gd name="T5" fmla="*/ 166 h 374"/>
              <a:gd name="T6" fmla="*/ 52 w 488"/>
              <a:gd name="T7" fmla="*/ 123 h 374"/>
              <a:gd name="T8" fmla="*/ 73 w 488"/>
              <a:gd name="T9" fmla="*/ 114 h 374"/>
              <a:gd name="T10" fmla="*/ 94 w 488"/>
              <a:gd name="T11" fmla="*/ 123 h 374"/>
              <a:gd name="T12" fmla="*/ 187 w 488"/>
              <a:gd name="T13" fmla="*/ 216 h 374"/>
              <a:gd name="T14" fmla="*/ 394 w 488"/>
              <a:gd name="T15" fmla="*/ 9 h 374"/>
              <a:gd name="T16" fmla="*/ 415 w 488"/>
              <a:gd name="T17" fmla="*/ 0 h 374"/>
              <a:gd name="T18" fmla="*/ 436 w 488"/>
              <a:gd name="T19" fmla="*/ 9 h 374"/>
              <a:gd name="T20" fmla="*/ 479 w 488"/>
              <a:gd name="T21" fmla="*/ 52 h 374"/>
              <a:gd name="T22" fmla="*/ 488 w 488"/>
              <a:gd name="T23" fmla="*/ 73 h 374"/>
              <a:gd name="T24" fmla="*/ 479 w 488"/>
              <a:gd name="T25" fmla="*/ 95 h 374"/>
              <a:gd name="T26" fmla="*/ 251 w 488"/>
              <a:gd name="T27" fmla="*/ 323 h 374"/>
              <a:gd name="T28" fmla="*/ 208 w 488"/>
              <a:gd name="T29" fmla="*/ 366 h 374"/>
              <a:gd name="T30" fmla="*/ 187 w 488"/>
              <a:gd name="T31" fmla="*/ 374 h 374"/>
              <a:gd name="T32" fmla="*/ 166 w 488"/>
              <a:gd name="T33" fmla="*/ 366 h 374"/>
              <a:gd name="T34" fmla="*/ 123 w 488"/>
              <a:gd name="T35" fmla="*/ 323 h 374"/>
              <a:gd name="T36" fmla="*/ 9 w 488"/>
              <a:gd name="T37" fmla="*/ 209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8" h="374">
                <a:moveTo>
                  <a:pt x="9" y="209"/>
                </a:moveTo>
                <a:cubicBezTo>
                  <a:pt x="3" y="203"/>
                  <a:pt x="0" y="196"/>
                  <a:pt x="0" y="187"/>
                </a:cubicBezTo>
                <a:cubicBezTo>
                  <a:pt x="0" y="179"/>
                  <a:pt x="3" y="172"/>
                  <a:pt x="9" y="166"/>
                </a:cubicBezTo>
                <a:lnTo>
                  <a:pt x="52" y="123"/>
                </a:lnTo>
                <a:cubicBezTo>
                  <a:pt x="57" y="117"/>
                  <a:pt x="65" y="114"/>
                  <a:pt x="73" y="114"/>
                </a:cubicBezTo>
                <a:cubicBezTo>
                  <a:pt x="81" y="114"/>
                  <a:pt x="88" y="117"/>
                  <a:pt x="94" y="123"/>
                </a:cubicBezTo>
                <a:lnTo>
                  <a:pt x="187" y="216"/>
                </a:lnTo>
                <a:lnTo>
                  <a:pt x="394" y="9"/>
                </a:lnTo>
                <a:cubicBezTo>
                  <a:pt x="399" y="3"/>
                  <a:pt x="407" y="0"/>
                  <a:pt x="415" y="0"/>
                </a:cubicBezTo>
                <a:cubicBezTo>
                  <a:pt x="423" y="0"/>
                  <a:pt x="431" y="3"/>
                  <a:pt x="436" y="9"/>
                </a:cubicBezTo>
                <a:lnTo>
                  <a:pt x="479" y="52"/>
                </a:lnTo>
                <a:cubicBezTo>
                  <a:pt x="485" y="58"/>
                  <a:pt x="488" y="65"/>
                  <a:pt x="488" y="73"/>
                </a:cubicBezTo>
                <a:cubicBezTo>
                  <a:pt x="488" y="82"/>
                  <a:pt x="485" y="89"/>
                  <a:pt x="479" y="95"/>
                </a:cubicBezTo>
                <a:lnTo>
                  <a:pt x="251" y="323"/>
                </a:lnTo>
                <a:lnTo>
                  <a:pt x="208" y="366"/>
                </a:lnTo>
                <a:cubicBezTo>
                  <a:pt x="203" y="372"/>
                  <a:pt x="195" y="374"/>
                  <a:pt x="187" y="374"/>
                </a:cubicBezTo>
                <a:cubicBezTo>
                  <a:pt x="179" y="374"/>
                  <a:pt x="171" y="372"/>
                  <a:pt x="166" y="366"/>
                </a:cubicBezTo>
                <a:lnTo>
                  <a:pt x="123" y="323"/>
                </a:lnTo>
                <a:lnTo>
                  <a:pt x="9" y="2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52">
            <a:extLst>
              <a:ext uri="{FF2B5EF4-FFF2-40B4-BE49-F238E27FC236}">
                <a16:creationId xmlns:a16="http://schemas.microsoft.com/office/drawing/2014/main" id="{9F6569FB-1A06-4D88-7637-490D7F3267BB}"/>
              </a:ext>
            </a:extLst>
          </p:cNvPr>
          <p:cNvSpPr>
            <a:spLocks/>
          </p:cNvSpPr>
          <p:nvPr/>
        </p:nvSpPr>
        <p:spPr bwMode="auto">
          <a:xfrm>
            <a:off x="2823556" y="2998163"/>
            <a:ext cx="297491" cy="227398"/>
          </a:xfrm>
          <a:custGeom>
            <a:avLst/>
            <a:gdLst>
              <a:gd name="T0" fmla="*/ 9 w 488"/>
              <a:gd name="T1" fmla="*/ 209 h 374"/>
              <a:gd name="T2" fmla="*/ 0 w 488"/>
              <a:gd name="T3" fmla="*/ 187 h 374"/>
              <a:gd name="T4" fmla="*/ 9 w 488"/>
              <a:gd name="T5" fmla="*/ 166 h 374"/>
              <a:gd name="T6" fmla="*/ 52 w 488"/>
              <a:gd name="T7" fmla="*/ 123 h 374"/>
              <a:gd name="T8" fmla="*/ 73 w 488"/>
              <a:gd name="T9" fmla="*/ 114 h 374"/>
              <a:gd name="T10" fmla="*/ 94 w 488"/>
              <a:gd name="T11" fmla="*/ 123 h 374"/>
              <a:gd name="T12" fmla="*/ 187 w 488"/>
              <a:gd name="T13" fmla="*/ 216 h 374"/>
              <a:gd name="T14" fmla="*/ 394 w 488"/>
              <a:gd name="T15" fmla="*/ 9 h 374"/>
              <a:gd name="T16" fmla="*/ 415 w 488"/>
              <a:gd name="T17" fmla="*/ 0 h 374"/>
              <a:gd name="T18" fmla="*/ 436 w 488"/>
              <a:gd name="T19" fmla="*/ 9 h 374"/>
              <a:gd name="T20" fmla="*/ 479 w 488"/>
              <a:gd name="T21" fmla="*/ 52 h 374"/>
              <a:gd name="T22" fmla="*/ 488 w 488"/>
              <a:gd name="T23" fmla="*/ 73 h 374"/>
              <a:gd name="T24" fmla="*/ 479 w 488"/>
              <a:gd name="T25" fmla="*/ 95 h 374"/>
              <a:gd name="T26" fmla="*/ 251 w 488"/>
              <a:gd name="T27" fmla="*/ 323 h 374"/>
              <a:gd name="T28" fmla="*/ 208 w 488"/>
              <a:gd name="T29" fmla="*/ 366 h 374"/>
              <a:gd name="T30" fmla="*/ 187 w 488"/>
              <a:gd name="T31" fmla="*/ 374 h 374"/>
              <a:gd name="T32" fmla="*/ 166 w 488"/>
              <a:gd name="T33" fmla="*/ 366 h 374"/>
              <a:gd name="T34" fmla="*/ 123 w 488"/>
              <a:gd name="T35" fmla="*/ 323 h 374"/>
              <a:gd name="T36" fmla="*/ 9 w 488"/>
              <a:gd name="T37" fmla="*/ 209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8" h="374">
                <a:moveTo>
                  <a:pt x="9" y="209"/>
                </a:moveTo>
                <a:cubicBezTo>
                  <a:pt x="3" y="203"/>
                  <a:pt x="0" y="196"/>
                  <a:pt x="0" y="187"/>
                </a:cubicBezTo>
                <a:cubicBezTo>
                  <a:pt x="0" y="179"/>
                  <a:pt x="3" y="172"/>
                  <a:pt x="9" y="166"/>
                </a:cubicBezTo>
                <a:lnTo>
                  <a:pt x="52" y="123"/>
                </a:lnTo>
                <a:cubicBezTo>
                  <a:pt x="57" y="117"/>
                  <a:pt x="65" y="114"/>
                  <a:pt x="73" y="114"/>
                </a:cubicBezTo>
                <a:cubicBezTo>
                  <a:pt x="81" y="114"/>
                  <a:pt x="88" y="117"/>
                  <a:pt x="94" y="123"/>
                </a:cubicBezTo>
                <a:lnTo>
                  <a:pt x="187" y="216"/>
                </a:lnTo>
                <a:lnTo>
                  <a:pt x="394" y="9"/>
                </a:lnTo>
                <a:cubicBezTo>
                  <a:pt x="399" y="3"/>
                  <a:pt x="407" y="0"/>
                  <a:pt x="415" y="0"/>
                </a:cubicBezTo>
                <a:cubicBezTo>
                  <a:pt x="423" y="0"/>
                  <a:pt x="431" y="3"/>
                  <a:pt x="436" y="9"/>
                </a:cubicBezTo>
                <a:lnTo>
                  <a:pt x="479" y="52"/>
                </a:lnTo>
                <a:cubicBezTo>
                  <a:pt x="485" y="58"/>
                  <a:pt x="488" y="65"/>
                  <a:pt x="488" y="73"/>
                </a:cubicBezTo>
                <a:cubicBezTo>
                  <a:pt x="488" y="82"/>
                  <a:pt x="485" y="89"/>
                  <a:pt x="479" y="95"/>
                </a:cubicBezTo>
                <a:lnTo>
                  <a:pt x="251" y="323"/>
                </a:lnTo>
                <a:lnTo>
                  <a:pt x="208" y="366"/>
                </a:lnTo>
                <a:cubicBezTo>
                  <a:pt x="203" y="372"/>
                  <a:pt x="195" y="374"/>
                  <a:pt x="187" y="374"/>
                </a:cubicBezTo>
                <a:cubicBezTo>
                  <a:pt x="179" y="374"/>
                  <a:pt x="171" y="372"/>
                  <a:pt x="166" y="366"/>
                </a:cubicBezTo>
                <a:lnTo>
                  <a:pt x="123" y="323"/>
                </a:lnTo>
                <a:lnTo>
                  <a:pt x="9" y="2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Google Shape;237;p31">
            <a:extLst>
              <a:ext uri="{FF2B5EF4-FFF2-40B4-BE49-F238E27FC236}">
                <a16:creationId xmlns:a16="http://schemas.microsoft.com/office/drawing/2014/main" id="{249BA4E1-1244-E729-BEED-852BECD84F58}"/>
              </a:ext>
            </a:extLst>
          </p:cNvPr>
          <p:cNvSpPr txBox="1">
            <a:spLocks/>
          </p:cNvSpPr>
          <p:nvPr/>
        </p:nvSpPr>
        <p:spPr>
          <a:xfrm>
            <a:off x="334950" y="3429000"/>
            <a:ext cx="2303475"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Sound</a:t>
            </a:r>
          </a:p>
          <a:p>
            <a:pPr marL="355600" indent="-355600">
              <a:spcBef>
                <a:spcPts val="0"/>
              </a:spcBef>
            </a:pPr>
            <a:r>
              <a:rPr lang="en-US" sz="1800" dirty="0"/>
              <a:t>Furniture position</a:t>
            </a:r>
          </a:p>
          <a:p>
            <a:pPr marL="355600" indent="-355600">
              <a:spcBef>
                <a:spcPts val="0"/>
              </a:spcBef>
            </a:pPr>
            <a:r>
              <a:rPr lang="en-US" sz="1800" dirty="0"/>
              <a:t>Collision detection</a:t>
            </a:r>
            <a:endParaRPr lang="en-US" sz="2000" dirty="0"/>
          </a:p>
        </p:txBody>
      </p:sp>
      <p:sp>
        <p:nvSpPr>
          <p:cNvPr id="19" name="Freeform 53">
            <a:extLst>
              <a:ext uri="{FF2B5EF4-FFF2-40B4-BE49-F238E27FC236}">
                <a16:creationId xmlns:a16="http://schemas.microsoft.com/office/drawing/2014/main" id="{B715EB14-4C73-0FB9-B415-1C8E0BF5BF39}"/>
              </a:ext>
            </a:extLst>
          </p:cNvPr>
          <p:cNvSpPr>
            <a:spLocks/>
          </p:cNvSpPr>
          <p:nvPr/>
        </p:nvSpPr>
        <p:spPr bwMode="auto">
          <a:xfrm>
            <a:off x="2823556" y="3509305"/>
            <a:ext cx="294908" cy="227398"/>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3">
            <a:extLst>
              <a:ext uri="{FF2B5EF4-FFF2-40B4-BE49-F238E27FC236}">
                <a16:creationId xmlns:a16="http://schemas.microsoft.com/office/drawing/2014/main" id="{A4C0DCE6-DB6A-E7AC-2269-0170FF855449}"/>
              </a:ext>
            </a:extLst>
          </p:cNvPr>
          <p:cNvSpPr>
            <a:spLocks/>
          </p:cNvSpPr>
          <p:nvPr/>
        </p:nvSpPr>
        <p:spPr bwMode="auto">
          <a:xfrm>
            <a:off x="2823556" y="3767136"/>
            <a:ext cx="294908" cy="227398"/>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53">
            <a:extLst>
              <a:ext uri="{FF2B5EF4-FFF2-40B4-BE49-F238E27FC236}">
                <a16:creationId xmlns:a16="http://schemas.microsoft.com/office/drawing/2014/main" id="{7C87F324-2B87-6DE0-371E-371F80F4EC55}"/>
              </a:ext>
            </a:extLst>
          </p:cNvPr>
          <p:cNvSpPr>
            <a:spLocks/>
          </p:cNvSpPr>
          <p:nvPr/>
        </p:nvSpPr>
        <p:spPr bwMode="auto">
          <a:xfrm>
            <a:off x="2823556" y="4024967"/>
            <a:ext cx="294908" cy="227398"/>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Google Shape;237;p31">
            <a:extLst>
              <a:ext uri="{FF2B5EF4-FFF2-40B4-BE49-F238E27FC236}">
                <a16:creationId xmlns:a16="http://schemas.microsoft.com/office/drawing/2014/main" id="{C6082B3A-C383-BDE8-5B48-2AA0A6484DCC}"/>
              </a:ext>
            </a:extLst>
          </p:cNvPr>
          <p:cNvSpPr txBox="1">
            <a:spLocks/>
          </p:cNvSpPr>
          <p:nvPr/>
        </p:nvSpPr>
        <p:spPr>
          <a:xfrm>
            <a:off x="334949" y="4355946"/>
            <a:ext cx="2488607"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Physiological sensors</a:t>
            </a:r>
          </a:p>
          <a:p>
            <a:pPr marL="355600" indent="-355600">
              <a:spcBef>
                <a:spcPts val="0"/>
              </a:spcBef>
            </a:pPr>
            <a:endParaRPr lang="en-US" sz="1800" dirty="0"/>
          </a:p>
        </p:txBody>
      </p:sp>
      <p:sp>
        <p:nvSpPr>
          <p:cNvPr id="23" name="Google Shape;237;p31">
            <a:extLst>
              <a:ext uri="{FF2B5EF4-FFF2-40B4-BE49-F238E27FC236}">
                <a16:creationId xmlns:a16="http://schemas.microsoft.com/office/drawing/2014/main" id="{9BC4D57A-3309-C706-4E9B-F17580D78338}"/>
              </a:ext>
            </a:extLst>
          </p:cNvPr>
          <p:cNvSpPr txBox="1">
            <a:spLocks/>
          </p:cNvSpPr>
          <p:nvPr/>
        </p:nvSpPr>
        <p:spPr>
          <a:xfrm>
            <a:off x="334949" y="4852533"/>
            <a:ext cx="2488607"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Low number of participants</a:t>
            </a:r>
          </a:p>
          <a:p>
            <a:pPr marL="0" indent="0">
              <a:spcBef>
                <a:spcPts val="0"/>
              </a:spcBef>
              <a:buNone/>
            </a:pPr>
            <a:endParaRPr lang="en-US" sz="2000" dirty="0"/>
          </a:p>
        </p:txBody>
      </p:sp>
      <p:sp>
        <p:nvSpPr>
          <p:cNvPr id="24" name="Freeform 305">
            <a:extLst>
              <a:ext uri="{FF2B5EF4-FFF2-40B4-BE49-F238E27FC236}">
                <a16:creationId xmlns:a16="http://schemas.microsoft.com/office/drawing/2014/main" id="{BF53A2C6-705E-F036-88CE-A78150B27E9F}"/>
              </a:ext>
            </a:extLst>
          </p:cNvPr>
          <p:cNvSpPr>
            <a:spLocks noEditPoints="1"/>
          </p:cNvSpPr>
          <p:nvPr/>
        </p:nvSpPr>
        <p:spPr bwMode="auto">
          <a:xfrm>
            <a:off x="2863168" y="4435365"/>
            <a:ext cx="167203" cy="227398"/>
          </a:xfrm>
          <a:custGeom>
            <a:avLst/>
            <a:gdLst>
              <a:gd name="T0" fmla="*/ 5 w 291"/>
              <a:gd name="T1" fmla="*/ 100 h 403"/>
              <a:gd name="T2" fmla="*/ 1 w 291"/>
              <a:gd name="T3" fmla="*/ 92 h 403"/>
              <a:gd name="T4" fmla="*/ 2 w 291"/>
              <a:gd name="T5" fmla="*/ 83 h 403"/>
              <a:gd name="T6" fmla="*/ 148 w 291"/>
              <a:gd name="T7" fmla="*/ 0 h 403"/>
              <a:gd name="T8" fmla="*/ 199 w 291"/>
              <a:gd name="T9" fmla="*/ 9 h 403"/>
              <a:gd name="T10" fmla="*/ 245 w 291"/>
              <a:gd name="T11" fmla="*/ 36 h 403"/>
              <a:gd name="T12" fmla="*/ 279 w 291"/>
              <a:gd name="T13" fmla="*/ 76 h 403"/>
              <a:gd name="T14" fmla="*/ 291 w 291"/>
              <a:gd name="T15" fmla="*/ 126 h 403"/>
              <a:gd name="T16" fmla="*/ 287 w 291"/>
              <a:gd name="T17" fmla="*/ 157 h 403"/>
              <a:gd name="T18" fmla="*/ 276 w 291"/>
              <a:gd name="T19" fmla="*/ 182 h 403"/>
              <a:gd name="T20" fmla="*/ 258 w 291"/>
              <a:gd name="T21" fmla="*/ 200 h 403"/>
              <a:gd name="T22" fmla="*/ 240 w 291"/>
              <a:gd name="T23" fmla="*/ 214 h 403"/>
              <a:gd name="T24" fmla="*/ 221 w 291"/>
              <a:gd name="T25" fmla="*/ 225 h 403"/>
              <a:gd name="T26" fmla="*/ 199 w 291"/>
              <a:gd name="T27" fmla="*/ 246 h 403"/>
              <a:gd name="T28" fmla="*/ 191 w 291"/>
              <a:gd name="T29" fmla="*/ 267 h 403"/>
              <a:gd name="T30" fmla="*/ 187 w 291"/>
              <a:gd name="T31" fmla="*/ 277 h 403"/>
              <a:gd name="T32" fmla="*/ 178 w 291"/>
              <a:gd name="T33" fmla="*/ 282 h 403"/>
              <a:gd name="T34" fmla="*/ 102 w 291"/>
              <a:gd name="T35" fmla="*/ 282 h 403"/>
              <a:gd name="T36" fmla="*/ 94 w 291"/>
              <a:gd name="T37" fmla="*/ 276 h 403"/>
              <a:gd name="T38" fmla="*/ 91 w 291"/>
              <a:gd name="T39" fmla="*/ 264 h 403"/>
              <a:gd name="T40" fmla="*/ 91 w 291"/>
              <a:gd name="T41" fmla="*/ 250 h 403"/>
              <a:gd name="T42" fmla="*/ 112 w 291"/>
              <a:gd name="T43" fmla="*/ 201 h 403"/>
              <a:gd name="T44" fmla="*/ 157 w 291"/>
              <a:gd name="T45" fmla="*/ 167 h 403"/>
              <a:gd name="T46" fmla="*/ 183 w 291"/>
              <a:gd name="T47" fmla="*/ 149 h 403"/>
              <a:gd name="T48" fmla="*/ 191 w 291"/>
              <a:gd name="T49" fmla="*/ 125 h 403"/>
              <a:gd name="T50" fmla="*/ 176 w 291"/>
              <a:gd name="T51" fmla="*/ 102 h 403"/>
              <a:gd name="T52" fmla="*/ 142 w 291"/>
              <a:gd name="T53" fmla="*/ 92 h 403"/>
              <a:gd name="T54" fmla="*/ 108 w 291"/>
              <a:gd name="T55" fmla="*/ 101 h 403"/>
              <a:gd name="T56" fmla="*/ 75 w 291"/>
              <a:gd name="T57" fmla="*/ 137 h 403"/>
              <a:gd name="T58" fmla="*/ 65 w 291"/>
              <a:gd name="T59" fmla="*/ 142 h 403"/>
              <a:gd name="T60" fmla="*/ 57 w 291"/>
              <a:gd name="T61" fmla="*/ 139 h 403"/>
              <a:gd name="T62" fmla="*/ 5 w 291"/>
              <a:gd name="T63" fmla="*/ 100 h 403"/>
              <a:gd name="T64" fmla="*/ 91 w 291"/>
              <a:gd name="T65" fmla="*/ 390 h 403"/>
              <a:gd name="T66" fmla="*/ 91 w 291"/>
              <a:gd name="T67" fmla="*/ 315 h 403"/>
              <a:gd name="T68" fmla="*/ 95 w 291"/>
              <a:gd name="T69" fmla="*/ 306 h 403"/>
              <a:gd name="T70" fmla="*/ 104 w 291"/>
              <a:gd name="T71" fmla="*/ 302 h 403"/>
              <a:gd name="T72" fmla="*/ 179 w 291"/>
              <a:gd name="T73" fmla="*/ 302 h 403"/>
              <a:gd name="T74" fmla="*/ 188 w 291"/>
              <a:gd name="T75" fmla="*/ 306 h 403"/>
              <a:gd name="T76" fmla="*/ 192 w 291"/>
              <a:gd name="T77" fmla="*/ 315 h 403"/>
              <a:gd name="T78" fmla="*/ 192 w 291"/>
              <a:gd name="T79" fmla="*/ 390 h 403"/>
              <a:gd name="T80" fmla="*/ 188 w 291"/>
              <a:gd name="T81" fmla="*/ 399 h 403"/>
              <a:gd name="T82" fmla="*/ 179 w 291"/>
              <a:gd name="T83" fmla="*/ 403 h 403"/>
              <a:gd name="T84" fmla="*/ 104 w 291"/>
              <a:gd name="T85" fmla="*/ 403 h 403"/>
              <a:gd name="T86" fmla="*/ 95 w 291"/>
              <a:gd name="T87" fmla="*/ 399 h 403"/>
              <a:gd name="T88" fmla="*/ 91 w 291"/>
              <a:gd name="T89" fmla="*/ 39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1" h="403">
                <a:moveTo>
                  <a:pt x="5" y="100"/>
                </a:moveTo>
                <a:cubicBezTo>
                  <a:pt x="3" y="98"/>
                  <a:pt x="1" y="95"/>
                  <a:pt x="1" y="92"/>
                </a:cubicBezTo>
                <a:cubicBezTo>
                  <a:pt x="0" y="89"/>
                  <a:pt x="1" y="86"/>
                  <a:pt x="2" y="83"/>
                </a:cubicBezTo>
                <a:cubicBezTo>
                  <a:pt x="36" y="28"/>
                  <a:pt x="85" y="0"/>
                  <a:pt x="148" y="0"/>
                </a:cubicBezTo>
                <a:cubicBezTo>
                  <a:pt x="165" y="0"/>
                  <a:pt x="182" y="3"/>
                  <a:pt x="199" y="9"/>
                </a:cubicBezTo>
                <a:cubicBezTo>
                  <a:pt x="216" y="16"/>
                  <a:pt x="232" y="25"/>
                  <a:pt x="245" y="36"/>
                </a:cubicBezTo>
                <a:cubicBezTo>
                  <a:pt x="259" y="46"/>
                  <a:pt x="270" y="60"/>
                  <a:pt x="279" y="76"/>
                </a:cubicBezTo>
                <a:cubicBezTo>
                  <a:pt x="287" y="92"/>
                  <a:pt x="291" y="108"/>
                  <a:pt x="291" y="126"/>
                </a:cubicBezTo>
                <a:cubicBezTo>
                  <a:pt x="291" y="137"/>
                  <a:pt x="290" y="148"/>
                  <a:pt x="287" y="157"/>
                </a:cubicBezTo>
                <a:cubicBezTo>
                  <a:pt x="283" y="167"/>
                  <a:pt x="280" y="175"/>
                  <a:pt x="276" y="182"/>
                </a:cubicBezTo>
                <a:cubicBezTo>
                  <a:pt x="271" y="188"/>
                  <a:pt x="266" y="194"/>
                  <a:pt x="258" y="200"/>
                </a:cubicBezTo>
                <a:cubicBezTo>
                  <a:pt x="251" y="207"/>
                  <a:pt x="245" y="211"/>
                  <a:pt x="240" y="214"/>
                </a:cubicBezTo>
                <a:cubicBezTo>
                  <a:pt x="236" y="217"/>
                  <a:pt x="229" y="221"/>
                  <a:pt x="221" y="225"/>
                </a:cubicBezTo>
                <a:cubicBezTo>
                  <a:pt x="212" y="230"/>
                  <a:pt x="205" y="237"/>
                  <a:pt x="199" y="246"/>
                </a:cubicBezTo>
                <a:cubicBezTo>
                  <a:pt x="194" y="254"/>
                  <a:pt x="191" y="261"/>
                  <a:pt x="191" y="267"/>
                </a:cubicBezTo>
                <a:cubicBezTo>
                  <a:pt x="191" y="270"/>
                  <a:pt x="189" y="274"/>
                  <a:pt x="187" y="277"/>
                </a:cubicBezTo>
                <a:cubicBezTo>
                  <a:pt x="184" y="280"/>
                  <a:pt x="181" y="282"/>
                  <a:pt x="178" y="282"/>
                </a:cubicBezTo>
                <a:lnTo>
                  <a:pt x="102" y="282"/>
                </a:lnTo>
                <a:cubicBezTo>
                  <a:pt x="99" y="282"/>
                  <a:pt x="97" y="280"/>
                  <a:pt x="94" y="276"/>
                </a:cubicBezTo>
                <a:cubicBezTo>
                  <a:pt x="92" y="272"/>
                  <a:pt x="91" y="268"/>
                  <a:pt x="91" y="264"/>
                </a:cubicBezTo>
                <a:lnTo>
                  <a:pt x="91" y="250"/>
                </a:lnTo>
                <a:cubicBezTo>
                  <a:pt x="91" y="233"/>
                  <a:pt x="98" y="216"/>
                  <a:pt x="112" y="201"/>
                </a:cubicBezTo>
                <a:cubicBezTo>
                  <a:pt x="125" y="185"/>
                  <a:pt x="140" y="174"/>
                  <a:pt x="157" y="167"/>
                </a:cubicBezTo>
                <a:cubicBezTo>
                  <a:pt x="169" y="161"/>
                  <a:pt x="178" y="155"/>
                  <a:pt x="183" y="149"/>
                </a:cubicBezTo>
                <a:cubicBezTo>
                  <a:pt x="188" y="143"/>
                  <a:pt x="191" y="135"/>
                  <a:pt x="191" y="125"/>
                </a:cubicBezTo>
                <a:cubicBezTo>
                  <a:pt x="191" y="116"/>
                  <a:pt x="186" y="108"/>
                  <a:pt x="176" y="102"/>
                </a:cubicBezTo>
                <a:cubicBezTo>
                  <a:pt x="167" y="95"/>
                  <a:pt x="155" y="92"/>
                  <a:pt x="142" y="92"/>
                </a:cubicBezTo>
                <a:cubicBezTo>
                  <a:pt x="129" y="92"/>
                  <a:pt x="117" y="95"/>
                  <a:pt x="108" y="101"/>
                </a:cubicBezTo>
                <a:cubicBezTo>
                  <a:pt x="101" y="106"/>
                  <a:pt x="90" y="118"/>
                  <a:pt x="75" y="137"/>
                </a:cubicBezTo>
                <a:cubicBezTo>
                  <a:pt x="72" y="140"/>
                  <a:pt x="69" y="142"/>
                  <a:pt x="65" y="142"/>
                </a:cubicBezTo>
                <a:cubicBezTo>
                  <a:pt x="62" y="142"/>
                  <a:pt x="60" y="141"/>
                  <a:pt x="57" y="139"/>
                </a:cubicBezTo>
                <a:lnTo>
                  <a:pt x="5" y="100"/>
                </a:lnTo>
                <a:close/>
                <a:moveTo>
                  <a:pt x="91" y="390"/>
                </a:moveTo>
                <a:lnTo>
                  <a:pt x="91" y="315"/>
                </a:lnTo>
                <a:cubicBezTo>
                  <a:pt x="91" y="311"/>
                  <a:pt x="92" y="308"/>
                  <a:pt x="95" y="306"/>
                </a:cubicBezTo>
                <a:cubicBezTo>
                  <a:pt x="97" y="303"/>
                  <a:pt x="100" y="302"/>
                  <a:pt x="104" y="302"/>
                </a:cubicBezTo>
                <a:lnTo>
                  <a:pt x="179" y="302"/>
                </a:lnTo>
                <a:cubicBezTo>
                  <a:pt x="183" y="302"/>
                  <a:pt x="186" y="303"/>
                  <a:pt x="188" y="306"/>
                </a:cubicBezTo>
                <a:cubicBezTo>
                  <a:pt x="191" y="308"/>
                  <a:pt x="192" y="311"/>
                  <a:pt x="192" y="315"/>
                </a:cubicBezTo>
                <a:lnTo>
                  <a:pt x="192" y="390"/>
                </a:lnTo>
                <a:cubicBezTo>
                  <a:pt x="192" y="394"/>
                  <a:pt x="191" y="396"/>
                  <a:pt x="188" y="399"/>
                </a:cubicBezTo>
                <a:cubicBezTo>
                  <a:pt x="186" y="402"/>
                  <a:pt x="183" y="403"/>
                  <a:pt x="179" y="403"/>
                </a:cubicBezTo>
                <a:lnTo>
                  <a:pt x="104" y="403"/>
                </a:lnTo>
                <a:cubicBezTo>
                  <a:pt x="100" y="403"/>
                  <a:pt x="97" y="402"/>
                  <a:pt x="95" y="399"/>
                </a:cubicBezTo>
                <a:cubicBezTo>
                  <a:pt x="92" y="396"/>
                  <a:pt x="91" y="394"/>
                  <a:pt x="91" y="39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305">
            <a:extLst>
              <a:ext uri="{FF2B5EF4-FFF2-40B4-BE49-F238E27FC236}">
                <a16:creationId xmlns:a16="http://schemas.microsoft.com/office/drawing/2014/main" id="{8CADB92F-B62B-58AC-F7D3-411D808E9D2E}"/>
              </a:ext>
            </a:extLst>
          </p:cNvPr>
          <p:cNvSpPr>
            <a:spLocks noEditPoints="1"/>
          </p:cNvSpPr>
          <p:nvPr/>
        </p:nvSpPr>
        <p:spPr bwMode="auto">
          <a:xfrm>
            <a:off x="2863168" y="5023573"/>
            <a:ext cx="167203" cy="227398"/>
          </a:xfrm>
          <a:custGeom>
            <a:avLst/>
            <a:gdLst>
              <a:gd name="T0" fmla="*/ 5 w 291"/>
              <a:gd name="T1" fmla="*/ 100 h 403"/>
              <a:gd name="T2" fmla="*/ 1 w 291"/>
              <a:gd name="T3" fmla="*/ 92 h 403"/>
              <a:gd name="T4" fmla="*/ 2 w 291"/>
              <a:gd name="T5" fmla="*/ 83 h 403"/>
              <a:gd name="T6" fmla="*/ 148 w 291"/>
              <a:gd name="T7" fmla="*/ 0 h 403"/>
              <a:gd name="T8" fmla="*/ 199 w 291"/>
              <a:gd name="T9" fmla="*/ 9 h 403"/>
              <a:gd name="T10" fmla="*/ 245 w 291"/>
              <a:gd name="T11" fmla="*/ 36 h 403"/>
              <a:gd name="T12" fmla="*/ 279 w 291"/>
              <a:gd name="T13" fmla="*/ 76 h 403"/>
              <a:gd name="T14" fmla="*/ 291 w 291"/>
              <a:gd name="T15" fmla="*/ 126 h 403"/>
              <a:gd name="T16" fmla="*/ 287 w 291"/>
              <a:gd name="T17" fmla="*/ 157 h 403"/>
              <a:gd name="T18" fmla="*/ 276 w 291"/>
              <a:gd name="T19" fmla="*/ 182 h 403"/>
              <a:gd name="T20" fmla="*/ 258 w 291"/>
              <a:gd name="T21" fmla="*/ 200 h 403"/>
              <a:gd name="T22" fmla="*/ 240 w 291"/>
              <a:gd name="T23" fmla="*/ 214 h 403"/>
              <a:gd name="T24" fmla="*/ 221 w 291"/>
              <a:gd name="T25" fmla="*/ 225 h 403"/>
              <a:gd name="T26" fmla="*/ 199 w 291"/>
              <a:gd name="T27" fmla="*/ 246 h 403"/>
              <a:gd name="T28" fmla="*/ 191 w 291"/>
              <a:gd name="T29" fmla="*/ 267 h 403"/>
              <a:gd name="T30" fmla="*/ 187 w 291"/>
              <a:gd name="T31" fmla="*/ 277 h 403"/>
              <a:gd name="T32" fmla="*/ 178 w 291"/>
              <a:gd name="T33" fmla="*/ 282 h 403"/>
              <a:gd name="T34" fmla="*/ 102 w 291"/>
              <a:gd name="T35" fmla="*/ 282 h 403"/>
              <a:gd name="T36" fmla="*/ 94 w 291"/>
              <a:gd name="T37" fmla="*/ 276 h 403"/>
              <a:gd name="T38" fmla="*/ 91 w 291"/>
              <a:gd name="T39" fmla="*/ 264 h 403"/>
              <a:gd name="T40" fmla="*/ 91 w 291"/>
              <a:gd name="T41" fmla="*/ 250 h 403"/>
              <a:gd name="T42" fmla="*/ 112 w 291"/>
              <a:gd name="T43" fmla="*/ 201 h 403"/>
              <a:gd name="T44" fmla="*/ 157 w 291"/>
              <a:gd name="T45" fmla="*/ 167 h 403"/>
              <a:gd name="T46" fmla="*/ 183 w 291"/>
              <a:gd name="T47" fmla="*/ 149 h 403"/>
              <a:gd name="T48" fmla="*/ 191 w 291"/>
              <a:gd name="T49" fmla="*/ 125 h 403"/>
              <a:gd name="T50" fmla="*/ 176 w 291"/>
              <a:gd name="T51" fmla="*/ 102 h 403"/>
              <a:gd name="T52" fmla="*/ 142 w 291"/>
              <a:gd name="T53" fmla="*/ 92 h 403"/>
              <a:gd name="T54" fmla="*/ 108 w 291"/>
              <a:gd name="T55" fmla="*/ 101 h 403"/>
              <a:gd name="T56" fmla="*/ 75 w 291"/>
              <a:gd name="T57" fmla="*/ 137 h 403"/>
              <a:gd name="T58" fmla="*/ 65 w 291"/>
              <a:gd name="T59" fmla="*/ 142 h 403"/>
              <a:gd name="T60" fmla="*/ 57 w 291"/>
              <a:gd name="T61" fmla="*/ 139 h 403"/>
              <a:gd name="T62" fmla="*/ 5 w 291"/>
              <a:gd name="T63" fmla="*/ 100 h 403"/>
              <a:gd name="T64" fmla="*/ 91 w 291"/>
              <a:gd name="T65" fmla="*/ 390 h 403"/>
              <a:gd name="T66" fmla="*/ 91 w 291"/>
              <a:gd name="T67" fmla="*/ 315 h 403"/>
              <a:gd name="T68" fmla="*/ 95 w 291"/>
              <a:gd name="T69" fmla="*/ 306 h 403"/>
              <a:gd name="T70" fmla="*/ 104 w 291"/>
              <a:gd name="T71" fmla="*/ 302 h 403"/>
              <a:gd name="T72" fmla="*/ 179 w 291"/>
              <a:gd name="T73" fmla="*/ 302 h 403"/>
              <a:gd name="T74" fmla="*/ 188 w 291"/>
              <a:gd name="T75" fmla="*/ 306 h 403"/>
              <a:gd name="T76" fmla="*/ 192 w 291"/>
              <a:gd name="T77" fmla="*/ 315 h 403"/>
              <a:gd name="T78" fmla="*/ 192 w 291"/>
              <a:gd name="T79" fmla="*/ 390 h 403"/>
              <a:gd name="T80" fmla="*/ 188 w 291"/>
              <a:gd name="T81" fmla="*/ 399 h 403"/>
              <a:gd name="T82" fmla="*/ 179 w 291"/>
              <a:gd name="T83" fmla="*/ 403 h 403"/>
              <a:gd name="T84" fmla="*/ 104 w 291"/>
              <a:gd name="T85" fmla="*/ 403 h 403"/>
              <a:gd name="T86" fmla="*/ 95 w 291"/>
              <a:gd name="T87" fmla="*/ 399 h 403"/>
              <a:gd name="T88" fmla="*/ 91 w 291"/>
              <a:gd name="T89" fmla="*/ 39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1" h="403">
                <a:moveTo>
                  <a:pt x="5" y="100"/>
                </a:moveTo>
                <a:cubicBezTo>
                  <a:pt x="3" y="98"/>
                  <a:pt x="1" y="95"/>
                  <a:pt x="1" y="92"/>
                </a:cubicBezTo>
                <a:cubicBezTo>
                  <a:pt x="0" y="89"/>
                  <a:pt x="1" y="86"/>
                  <a:pt x="2" y="83"/>
                </a:cubicBezTo>
                <a:cubicBezTo>
                  <a:pt x="36" y="28"/>
                  <a:pt x="85" y="0"/>
                  <a:pt x="148" y="0"/>
                </a:cubicBezTo>
                <a:cubicBezTo>
                  <a:pt x="165" y="0"/>
                  <a:pt x="182" y="3"/>
                  <a:pt x="199" y="9"/>
                </a:cubicBezTo>
                <a:cubicBezTo>
                  <a:pt x="216" y="16"/>
                  <a:pt x="232" y="25"/>
                  <a:pt x="245" y="36"/>
                </a:cubicBezTo>
                <a:cubicBezTo>
                  <a:pt x="259" y="46"/>
                  <a:pt x="270" y="60"/>
                  <a:pt x="279" y="76"/>
                </a:cubicBezTo>
                <a:cubicBezTo>
                  <a:pt x="287" y="92"/>
                  <a:pt x="291" y="108"/>
                  <a:pt x="291" y="126"/>
                </a:cubicBezTo>
                <a:cubicBezTo>
                  <a:pt x="291" y="137"/>
                  <a:pt x="290" y="148"/>
                  <a:pt x="287" y="157"/>
                </a:cubicBezTo>
                <a:cubicBezTo>
                  <a:pt x="283" y="167"/>
                  <a:pt x="280" y="175"/>
                  <a:pt x="276" y="182"/>
                </a:cubicBezTo>
                <a:cubicBezTo>
                  <a:pt x="271" y="188"/>
                  <a:pt x="266" y="194"/>
                  <a:pt x="258" y="200"/>
                </a:cubicBezTo>
                <a:cubicBezTo>
                  <a:pt x="251" y="207"/>
                  <a:pt x="245" y="211"/>
                  <a:pt x="240" y="214"/>
                </a:cubicBezTo>
                <a:cubicBezTo>
                  <a:pt x="236" y="217"/>
                  <a:pt x="229" y="221"/>
                  <a:pt x="221" y="225"/>
                </a:cubicBezTo>
                <a:cubicBezTo>
                  <a:pt x="212" y="230"/>
                  <a:pt x="205" y="237"/>
                  <a:pt x="199" y="246"/>
                </a:cubicBezTo>
                <a:cubicBezTo>
                  <a:pt x="194" y="254"/>
                  <a:pt x="191" y="261"/>
                  <a:pt x="191" y="267"/>
                </a:cubicBezTo>
                <a:cubicBezTo>
                  <a:pt x="191" y="270"/>
                  <a:pt x="189" y="274"/>
                  <a:pt x="187" y="277"/>
                </a:cubicBezTo>
                <a:cubicBezTo>
                  <a:pt x="184" y="280"/>
                  <a:pt x="181" y="282"/>
                  <a:pt x="178" y="282"/>
                </a:cubicBezTo>
                <a:lnTo>
                  <a:pt x="102" y="282"/>
                </a:lnTo>
                <a:cubicBezTo>
                  <a:pt x="99" y="282"/>
                  <a:pt x="97" y="280"/>
                  <a:pt x="94" y="276"/>
                </a:cubicBezTo>
                <a:cubicBezTo>
                  <a:pt x="92" y="272"/>
                  <a:pt x="91" y="268"/>
                  <a:pt x="91" y="264"/>
                </a:cubicBezTo>
                <a:lnTo>
                  <a:pt x="91" y="250"/>
                </a:lnTo>
                <a:cubicBezTo>
                  <a:pt x="91" y="233"/>
                  <a:pt x="98" y="216"/>
                  <a:pt x="112" y="201"/>
                </a:cubicBezTo>
                <a:cubicBezTo>
                  <a:pt x="125" y="185"/>
                  <a:pt x="140" y="174"/>
                  <a:pt x="157" y="167"/>
                </a:cubicBezTo>
                <a:cubicBezTo>
                  <a:pt x="169" y="161"/>
                  <a:pt x="178" y="155"/>
                  <a:pt x="183" y="149"/>
                </a:cubicBezTo>
                <a:cubicBezTo>
                  <a:pt x="188" y="143"/>
                  <a:pt x="191" y="135"/>
                  <a:pt x="191" y="125"/>
                </a:cubicBezTo>
                <a:cubicBezTo>
                  <a:pt x="191" y="116"/>
                  <a:pt x="186" y="108"/>
                  <a:pt x="176" y="102"/>
                </a:cubicBezTo>
                <a:cubicBezTo>
                  <a:pt x="167" y="95"/>
                  <a:pt x="155" y="92"/>
                  <a:pt x="142" y="92"/>
                </a:cubicBezTo>
                <a:cubicBezTo>
                  <a:pt x="129" y="92"/>
                  <a:pt x="117" y="95"/>
                  <a:pt x="108" y="101"/>
                </a:cubicBezTo>
                <a:cubicBezTo>
                  <a:pt x="101" y="106"/>
                  <a:pt x="90" y="118"/>
                  <a:pt x="75" y="137"/>
                </a:cubicBezTo>
                <a:cubicBezTo>
                  <a:pt x="72" y="140"/>
                  <a:pt x="69" y="142"/>
                  <a:pt x="65" y="142"/>
                </a:cubicBezTo>
                <a:cubicBezTo>
                  <a:pt x="62" y="142"/>
                  <a:pt x="60" y="141"/>
                  <a:pt x="57" y="139"/>
                </a:cubicBezTo>
                <a:lnTo>
                  <a:pt x="5" y="100"/>
                </a:lnTo>
                <a:close/>
                <a:moveTo>
                  <a:pt x="91" y="390"/>
                </a:moveTo>
                <a:lnTo>
                  <a:pt x="91" y="315"/>
                </a:lnTo>
                <a:cubicBezTo>
                  <a:pt x="91" y="311"/>
                  <a:pt x="92" y="308"/>
                  <a:pt x="95" y="306"/>
                </a:cubicBezTo>
                <a:cubicBezTo>
                  <a:pt x="97" y="303"/>
                  <a:pt x="100" y="302"/>
                  <a:pt x="104" y="302"/>
                </a:cubicBezTo>
                <a:lnTo>
                  <a:pt x="179" y="302"/>
                </a:lnTo>
                <a:cubicBezTo>
                  <a:pt x="183" y="302"/>
                  <a:pt x="186" y="303"/>
                  <a:pt x="188" y="306"/>
                </a:cubicBezTo>
                <a:cubicBezTo>
                  <a:pt x="191" y="308"/>
                  <a:pt x="192" y="311"/>
                  <a:pt x="192" y="315"/>
                </a:cubicBezTo>
                <a:lnTo>
                  <a:pt x="192" y="390"/>
                </a:lnTo>
                <a:cubicBezTo>
                  <a:pt x="192" y="394"/>
                  <a:pt x="191" y="396"/>
                  <a:pt x="188" y="399"/>
                </a:cubicBezTo>
                <a:cubicBezTo>
                  <a:pt x="186" y="402"/>
                  <a:pt x="183" y="403"/>
                  <a:pt x="179" y="403"/>
                </a:cubicBezTo>
                <a:lnTo>
                  <a:pt x="104" y="403"/>
                </a:lnTo>
                <a:cubicBezTo>
                  <a:pt x="100" y="403"/>
                  <a:pt x="97" y="402"/>
                  <a:pt x="95" y="399"/>
                </a:cubicBezTo>
                <a:cubicBezTo>
                  <a:pt x="92" y="396"/>
                  <a:pt x="91" y="394"/>
                  <a:pt x="91" y="39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Retângulo 27">
            <a:extLst>
              <a:ext uri="{FF2B5EF4-FFF2-40B4-BE49-F238E27FC236}">
                <a16:creationId xmlns:a16="http://schemas.microsoft.com/office/drawing/2014/main" id="{761F7CAE-1D54-8B0E-B723-CD26B753524F}"/>
              </a:ext>
            </a:extLst>
          </p:cNvPr>
          <p:cNvSpPr/>
          <p:nvPr/>
        </p:nvSpPr>
        <p:spPr>
          <a:xfrm>
            <a:off x="5006338" y="792000"/>
            <a:ext cx="4371810"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397689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sp>
        <p:nvSpPr>
          <p:cNvPr id="6" name="Google Shape;237;p31">
            <a:extLst>
              <a:ext uri="{FF2B5EF4-FFF2-40B4-BE49-F238E27FC236}">
                <a16:creationId xmlns:a16="http://schemas.microsoft.com/office/drawing/2014/main" id="{90379D73-0B31-CFF6-C410-90CFD31586F7}"/>
              </a:ext>
            </a:extLst>
          </p:cNvPr>
          <p:cNvSpPr txBox="1">
            <a:spLocks noGrp="1"/>
          </p:cNvSpPr>
          <p:nvPr>
            <p:ph type="body" idx="1"/>
          </p:nvPr>
        </p:nvSpPr>
        <p:spPr>
          <a:xfrm>
            <a:off x="334949" y="792000"/>
            <a:ext cx="9043200"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2.2 billions some visual impairment.</a:t>
            </a:r>
          </a:p>
          <a:p>
            <a:pPr marL="812800" lvl="1" indent="-355600">
              <a:spcBef>
                <a:spcPts val="0"/>
              </a:spcBef>
            </a:pPr>
            <a:r>
              <a:rPr lang="en-US" dirty="0"/>
              <a:t>295 million have moderate or severe vision impairment.</a:t>
            </a:r>
          </a:p>
          <a:p>
            <a:pPr marL="812800" lvl="1" indent="-355600">
              <a:spcBef>
                <a:spcPts val="0"/>
              </a:spcBef>
            </a:pPr>
            <a:r>
              <a:rPr lang="en-US" dirty="0"/>
              <a:t>43,3 million are blind</a:t>
            </a:r>
          </a:p>
          <a:p>
            <a:pPr marL="457200" lvl="1" indent="0">
              <a:spcBef>
                <a:spcPts val="0"/>
              </a:spcBef>
              <a:buSzPts val="2640"/>
              <a:buNone/>
            </a:pPr>
            <a:endParaRPr lang="en-US" dirty="0"/>
          </a:p>
          <a:p>
            <a:pPr marL="355600" indent="-355600">
              <a:spcBef>
                <a:spcPts val="0"/>
              </a:spcBef>
            </a:pPr>
            <a:r>
              <a:rPr lang="en-US" dirty="0"/>
              <a:t>Dissatisfaction of the community</a:t>
            </a:r>
          </a:p>
          <a:p>
            <a:pPr marL="355600" indent="-355600">
              <a:spcBef>
                <a:spcPts val="0"/>
              </a:spcBef>
            </a:pPr>
            <a:endParaRPr lang="en-US" dirty="0"/>
          </a:p>
          <a:p>
            <a:pPr marL="355600" indent="-355600">
              <a:spcBef>
                <a:spcPts val="0"/>
              </a:spcBef>
            </a:pPr>
            <a:r>
              <a:rPr lang="en-US" dirty="0"/>
              <a:t>COVID-19</a:t>
            </a:r>
          </a:p>
          <a:p>
            <a:pPr marL="812800" lvl="1" indent="-355600">
              <a:spcBef>
                <a:spcPts val="0"/>
              </a:spcBef>
            </a:pPr>
            <a:r>
              <a:rPr lang="en-US" dirty="0"/>
              <a:t>WHO recommendations</a:t>
            </a:r>
          </a:p>
          <a:p>
            <a:pPr marL="0" indent="0">
              <a:spcBef>
                <a:spcPts val="0"/>
              </a:spcBef>
              <a:buNone/>
            </a:pPr>
            <a:endParaRPr lang="en-US" dirty="0"/>
          </a:p>
          <a:p>
            <a:pPr marL="355600" indent="-355600">
              <a:spcBef>
                <a:spcPts val="0"/>
              </a:spcBef>
            </a:pPr>
            <a:endParaRPr lang="en-US" dirty="0"/>
          </a:p>
          <a:p>
            <a:pPr marL="812800" lvl="1" indent="-355600">
              <a:spcBef>
                <a:spcPts val="0"/>
              </a:spcBef>
              <a:buSzPts val="2640"/>
              <a:buFont typeface="Noto Sans Symbols"/>
              <a:buChar char="▪"/>
            </a:pPr>
            <a:endParaRPr lang="en-US" dirty="0"/>
          </a:p>
          <a:p>
            <a:pPr marL="457200" lvl="1" indent="0">
              <a:spcBef>
                <a:spcPts val="0"/>
              </a:spcBef>
              <a:buSzPts val="2640"/>
              <a:buNone/>
            </a:pPr>
            <a:r>
              <a:rPr lang="en-US" dirty="0"/>
              <a:t>	</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4257" y="3021188"/>
            <a:ext cx="2689535" cy="272795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35" name="Retângulo 34">
            <a:extLst>
              <a:ext uri="{FF2B5EF4-FFF2-40B4-BE49-F238E27FC236}">
                <a16:creationId xmlns:a16="http://schemas.microsoft.com/office/drawing/2014/main" id="{06EEDD14-894E-2C26-6583-4098006ACEF3}"/>
              </a:ext>
            </a:extLst>
          </p:cNvPr>
          <p:cNvSpPr/>
          <p:nvPr/>
        </p:nvSpPr>
        <p:spPr>
          <a:xfrm>
            <a:off x="334949" y="2681280"/>
            <a:ext cx="4371810" cy="3337384"/>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Conclusion and outlook: </a:t>
            </a:r>
            <a:r>
              <a:rPr lang="en-US" b="0" i="1" dirty="0"/>
              <a:t>Conclusions</a:t>
            </a:r>
          </a:p>
        </p:txBody>
      </p:sp>
      <p:grpSp>
        <p:nvGrpSpPr>
          <p:cNvPr id="3" name="Agrupar 2">
            <a:extLst>
              <a:ext uri="{FF2B5EF4-FFF2-40B4-BE49-F238E27FC236}">
                <a16:creationId xmlns:a16="http://schemas.microsoft.com/office/drawing/2014/main" id="{9D5A7801-B653-8FBB-5F08-C9ED51CA2204}"/>
              </a:ext>
            </a:extLst>
          </p:cNvPr>
          <p:cNvGrpSpPr/>
          <p:nvPr/>
        </p:nvGrpSpPr>
        <p:grpSpPr>
          <a:xfrm>
            <a:off x="334949" y="792000"/>
            <a:ext cx="4371810" cy="1889280"/>
            <a:chOff x="334949" y="1008019"/>
            <a:chExt cx="4371810" cy="1889280"/>
          </a:xfrm>
        </p:grpSpPr>
        <p:sp>
          <p:nvSpPr>
            <p:cNvPr id="2" name="Retângulo 1">
              <a:extLst>
                <a:ext uri="{FF2B5EF4-FFF2-40B4-BE49-F238E27FC236}">
                  <a16:creationId xmlns:a16="http://schemas.microsoft.com/office/drawing/2014/main" id="{55E4EA3B-46BE-210B-FE9A-756E9E272DFC}"/>
                </a:ext>
              </a:extLst>
            </p:cNvPr>
            <p:cNvSpPr/>
            <p:nvPr/>
          </p:nvSpPr>
          <p:spPr>
            <a:xfrm>
              <a:off x="334949" y="137622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1400005"/>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008019"/>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grpSp>
      <p:grpSp>
        <p:nvGrpSpPr>
          <p:cNvPr id="4" name="Agrupar 3">
            <a:extLst>
              <a:ext uri="{FF2B5EF4-FFF2-40B4-BE49-F238E27FC236}">
                <a16:creationId xmlns:a16="http://schemas.microsoft.com/office/drawing/2014/main" id="{B04835F4-3582-9503-6B0E-C65F2369350B}"/>
              </a:ext>
            </a:extLst>
          </p:cNvPr>
          <p:cNvGrpSpPr/>
          <p:nvPr/>
        </p:nvGrpSpPr>
        <p:grpSpPr>
          <a:xfrm>
            <a:off x="4992866" y="792000"/>
            <a:ext cx="4385282" cy="1913065"/>
            <a:chOff x="4992866" y="1829066"/>
            <a:chExt cx="4385282" cy="1913065"/>
          </a:xfrm>
        </p:grpSpPr>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221052"/>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grpSp>
      <p:sp>
        <p:nvSpPr>
          <p:cNvPr id="36" name="Retângulo 35">
            <a:extLst>
              <a:ext uri="{FF2B5EF4-FFF2-40B4-BE49-F238E27FC236}">
                <a16:creationId xmlns:a16="http://schemas.microsoft.com/office/drawing/2014/main" id="{92FB7F04-40A9-493B-D5D7-05D075E75D7C}"/>
              </a:ext>
            </a:extLst>
          </p:cNvPr>
          <p:cNvSpPr/>
          <p:nvPr/>
        </p:nvSpPr>
        <p:spPr>
          <a:xfrm>
            <a:off x="5006338" y="2681279"/>
            <a:ext cx="4371810" cy="3337385"/>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9" name="Imagem 38">
            <a:extLst>
              <a:ext uri="{FF2B5EF4-FFF2-40B4-BE49-F238E27FC236}">
                <a16:creationId xmlns:a16="http://schemas.microsoft.com/office/drawing/2014/main" id="{C911A2DD-E74A-7C5E-AED7-7BA5DD6D02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7037" y="2938089"/>
            <a:ext cx="929981" cy="929981"/>
          </a:xfrm>
          <a:prstGeom prst="rect">
            <a:avLst/>
          </a:prstGeom>
        </p:spPr>
      </p:pic>
      <p:grpSp>
        <p:nvGrpSpPr>
          <p:cNvPr id="5" name="Agrupar 4">
            <a:extLst>
              <a:ext uri="{FF2B5EF4-FFF2-40B4-BE49-F238E27FC236}">
                <a16:creationId xmlns:a16="http://schemas.microsoft.com/office/drawing/2014/main" id="{E70A53DE-6F16-87C5-F314-78574294C935}"/>
              </a:ext>
            </a:extLst>
          </p:cNvPr>
          <p:cNvGrpSpPr/>
          <p:nvPr/>
        </p:nvGrpSpPr>
        <p:grpSpPr>
          <a:xfrm>
            <a:off x="7656768" y="2982543"/>
            <a:ext cx="1197673" cy="841073"/>
            <a:chOff x="6972933" y="2943205"/>
            <a:chExt cx="1787609" cy="1255359"/>
          </a:xfrm>
        </p:grpSpPr>
        <p:grpSp>
          <p:nvGrpSpPr>
            <p:cNvPr id="14" name="Agrupar 13">
              <a:extLst>
                <a:ext uri="{FF2B5EF4-FFF2-40B4-BE49-F238E27FC236}">
                  <a16:creationId xmlns:a16="http://schemas.microsoft.com/office/drawing/2014/main" id="{8E71E6EF-373E-220B-1878-F0BFE7787DB9}"/>
                </a:ext>
              </a:extLst>
            </p:cNvPr>
            <p:cNvGrpSpPr/>
            <p:nvPr/>
          </p:nvGrpSpPr>
          <p:grpSpPr>
            <a:xfrm>
              <a:off x="6972933" y="2943205"/>
              <a:ext cx="1787609" cy="1255359"/>
              <a:chOff x="6959461" y="4320127"/>
              <a:chExt cx="2418687" cy="1698537"/>
            </a:xfrm>
          </p:grpSpPr>
          <p:pic>
            <p:nvPicPr>
              <p:cNvPr id="20" name="Imagem 19">
                <a:extLst>
                  <a:ext uri="{FF2B5EF4-FFF2-40B4-BE49-F238E27FC236}">
                    <a16:creationId xmlns:a16="http://schemas.microsoft.com/office/drawing/2014/main" id="{5441947E-E855-EB36-AD79-A71E5D7D459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59461" y="4320127"/>
                <a:ext cx="929980" cy="929980"/>
              </a:xfrm>
              <a:prstGeom prst="rect">
                <a:avLst/>
              </a:prstGeom>
            </p:spPr>
          </p:pic>
          <p:grpSp>
            <p:nvGrpSpPr>
              <p:cNvPr id="23" name="Agrupar 22">
                <a:extLst>
                  <a:ext uri="{FF2B5EF4-FFF2-40B4-BE49-F238E27FC236}">
                    <a16:creationId xmlns:a16="http://schemas.microsoft.com/office/drawing/2014/main" id="{8BBF1C07-F1F5-7DB0-7167-D3F92D12AD86}"/>
                  </a:ext>
                </a:extLst>
              </p:cNvPr>
              <p:cNvGrpSpPr/>
              <p:nvPr/>
            </p:nvGrpSpPr>
            <p:grpSpPr>
              <a:xfrm>
                <a:off x="7927446" y="5349664"/>
                <a:ext cx="1450702" cy="669000"/>
                <a:chOff x="6262899" y="3403957"/>
                <a:chExt cx="2492154" cy="1149272"/>
              </a:xfrm>
            </p:grpSpPr>
            <p:pic>
              <p:nvPicPr>
                <p:cNvPr id="27" name="Imagem 26">
                  <a:extLst>
                    <a:ext uri="{FF2B5EF4-FFF2-40B4-BE49-F238E27FC236}">
                      <a16:creationId xmlns:a16="http://schemas.microsoft.com/office/drawing/2014/main" id="{10138A0D-5229-5D12-F8A5-F09AAC43DBF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9306" b="28194"/>
                <a:stretch/>
              </p:blipFill>
              <p:spPr>
                <a:xfrm>
                  <a:off x="6494257" y="3553440"/>
                  <a:ext cx="1947600" cy="827730"/>
                </a:xfrm>
                <a:prstGeom prst="rect">
                  <a:avLst/>
                </a:prstGeom>
              </p:spPr>
            </p:pic>
            <p:pic>
              <p:nvPicPr>
                <p:cNvPr id="28" name="Imagem 27">
                  <a:extLst>
                    <a:ext uri="{FF2B5EF4-FFF2-40B4-BE49-F238E27FC236}">
                      <a16:creationId xmlns:a16="http://schemas.microsoft.com/office/drawing/2014/main" id="{6C99CCFE-8349-6E4D-8668-795B25B1D6F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7200000">
                  <a:off x="6470402" y="4015446"/>
                  <a:ext cx="330280" cy="745285"/>
                </a:xfrm>
                <a:prstGeom prst="rect">
                  <a:avLst/>
                </a:prstGeom>
              </p:spPr>
            </p:pic>
            <p:pic>
              <p:nvPicPr>
                <p:cNvPr id="29" name="Imagem 28">
                  <a:extLst>
                    <a:ext uri="{FF2B5EF4-FFF2-40B4-BE49-F238E27FC236}">
                      <a16:creationId xmlns:a16="http://schemas.microsoft.com/office/drawing/2014/main" id="{6A4704EC-0836-D7CE-3A61-51CFD520296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4400000">
                  <a:off x="6470403" y="3196454"/>
                  <a:ext cx="330280" cy="745285"/>
                </a:xfrm>
                <a:prstGeom prst="rect">
                  <a:avLst/>
                </a:prstGeom>
              </p:spPr>
            </p:pic>
            <p:pic>
              <p:nvPicPr>
                <p:cNvPr id="30" name="Imagem 29">
                  <a:extLst>
                    <a:ext uri="{FF2B5EF4-FFF2-40B4-BE49-F238E27FC236}">
                      <a16:creationId xmlns:a16="http://schemas.microsoft.com/office/drawing/2014/main" id="{5FBE56D9-67AE-5858-FFF1-A78C170B1DA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3600000">
                  <a:off x="8217271" y="4015446"/>
                  <a:ext cx="330280" cy="745285"/>
                </a:xfrm>
                <a:prstGeom prst="rect">
                  <a:avLst/>
                </a:prstGeom>
              </p:spPr>
            </p:pic>
            <p:pic>
              <p:nvPicPr>
                <p:cNvPr id="31" name="Imagem 30">
                  <a:extLst>
                    <a:ext uri="{FF2B5EF4-FFF2-40B4-BE49-F238E27FC236}">
                      <a16:creationId xmlns:a16="http://schemas.microsoft.com/office/drawing/2014/main" id="{1D069EAC-46B6-B339-B2CC-1B2FC3915F8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8000000">
                  <a:off x="8217271" y="3196456"/>
                  <a:ext cx="330280" cy="745285"/>
                </a:xfrm>
                <a:prstGeom prst="rect">
                  <a:avLst/>
                </a:prstGeom>
              </p:spPr>
            </p:pic>
          </p:grpSp>
        </p:grpSp>
        <p:sp>
          <p:nvSpPr>
            <p:cNvPr id="40" name="Freeform 137">
              <a:extLst>
                <a:ext uri="{FF2B5EF4-FFF2-40B4-BE49-F238E27FC236}">
                  <a16:creationId xmlns:a16="http://schemas.microsoft.com/office/drawing/2014/main" id="{769B0AB7-9E74-EB63-CD3D-8C70C7D50724}"/>
                </a:ext>
              </a:extLst>
            </p:cNvPr>
            <p:cNvSpPr>
              <a:spLocks/>
            </p:cNvSpPr>
            <p:nvPr/>
          </p:nvSpPr>
          <p:spPr bwMode="auto">
            <a:xfrm>
              <a:off x="7530537" y="3358625"/>
              <a:ext cx="348732" cy="348732"/>
            </a:xfrm>
            <a:custGeom>
              <a:avLst/>
              <a:gdLst>
                <a:gd name="T0" fmla="*/ 0 w 443"/>
                <a:gd name="T1" fmla="*/ 252 h 443"/>
                <a:gd name="T2" fmla="*/ 0 w 443"/>
                <a:gd name="T3" fmla="*/ 191 h 443"/>
                <a:gd name="T4" fmla="*/ 9 w 443"/>
                <a:gd name="T5" fmla="*/ 170 h 443"/>
                <a:gd name="T6" fmla="*/ 30 w 443"/>
                <a:gd name="T7" fmla="*/ 161 h 443"/>
                <a:gd name="T8" fmla="*/ 161 w 443"/>
                <a:gd name="T9" fmla="*/ 161 h 443"/>
                <a:gd name="T10" fmla="*/ 161 w 443"/>
                <a:gd name="T11" fmla="*/ 30 h 443"/>
                <a:gd name="T12" fmla="*/ 170 w 443"/>
                <a:gd name="T13" fmla="*/ 8 h 443"/>
                <a:gd name="T14" fmla="*/ 191 w 443"/>
                <a:gd name="T15" fmla="*/ 0 h 443"/>
                <a:gd name="T16" fmla="*/ 252 w 443"/>
                <a:gd name="T17" fmla="*/ 0 h 443"/>
                <a:gd name="T18" fmla="*/ 273 w 443"/>
                <a:gd name="T19" fmla="*/ 8 h 443"/>
                <a:gd name="T20" fmla="*/ 282 w 443"/>
                <a:gd name="T21" fmla="*/ 30 h 443"/>
                <a:gd name="T22" fmla="*/ 282 w 443"/>
                <a:gd name="T23" fmla="*/ 161 h 443"/>
                <a:gd name="T24" fmla="*/ 413 w 443"/>
                <a:gd name="T25" fmla="*/ 161 h 443"/>
                <a:gd name="T26" fmla="*/ 435 w 443"/>
                <a:gd name="T27" fmla="*/ 170 h 443"/>
                <a:gd name="T28" fmla="*/ 443 w 443"/>
                <a:gd name="T29" fmla="*/ 191 h 443"/>
                <a:gd name="T30" fmla="*/ 443 w 443"/>
                <a:gd name="T31" fmla="*/ 252 h 443"/>
                <a:gd name="T32" fmla="*/ 435 w 443"/>
                <a:gd name="T33" fmla="*/ 273 h 443"/>
                <a:gd name="T34" fmla="*/ 413 w 443"/>
                <a:gd name="T35" fmla="*/ 282 h 443"/>
                <a:gd name="T36" fmla="*/ 282 w 443"/>
                <a:gd name="T37" fmla="*/ 282 h 443"/>
                <a:gd name="T38" fmla="*/ 282 w 443"/>
                <a:gd name="T39" fmla="*/ 413 h 443"/>
                <a:gd name="T40" fmla="*/ 273 w 443"/>
                <a:gd name="T41" fmla="*/ 434 h 443"/>
                <a:gd name="T42" fmla="*/ 252 w 443"/>
                <a:gd name="T43" fmla="*/ 443 h 443"/>
                <a:gd name="T44" fmla="*/ 191 w 443"/>
                <a:gd name="T45" fmla="*/ 443 h 443"/>
                <a:gd name="T46" fmla="*/ 170 w 443"/>
                <a:gd name="T47" fmla="*/ 434 h 443"/>
                <a:gd name="T48" fmla="*/ 161 w 443"/>
                <a:gd name="T49" fmla="*/ 413 h 443"/>
                <a:gd name="T50" fmla="*/ 161 w 443"/>
                <a:gd name="T51" fmla="*/ 282 h 443"/>
                <a:gd name="T52" fmla="*/ 30 w 443"/>
                <a:gd name="T53" fmla="*/ 282 h 443"/>
                <a:gd name="T54" fmla="*/ 9 w 443"/>
                <a:gd name="T55" fmla="*/ 273 h 443"/>
                <a:gd name="T56" fmla="*/ 0 w 443"/>
                <a:gd name="T57" fmla="*/ 25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3" h="443">
                  <a:moveTo>
                    <a:pt x="0" y="252"/>
                  </a:moveTo>
                  <a:lnTo>
                    <a:pt x="0" y="191"/>
                  </a:lnTo>
                  <a:cubicBezTo>
                    <a:pt x="0" y="183"/>
                    <a:pt x="3" y="175"/>
                    <a:pt x="9" y="170"/>
                  </a:cubicBezTo>
                  <a:cubicBezTo>
                    <a:pt x="15" y="164"/>
                    <a:pt x="22" y="161"/>
                    <a:pt x="30" y="161"/>
                  </a:cubicBezTo>
                  <a:lnTo>
                    <a:pt x="161" y="161"/>
                  </a:lnTo>
                  <a:lnTo>
                    <a:pt x="161" y="30"/>
                  </a:lnTo>
                  <a:cubicBezTo>
                    <a:pt x="161" y="21"/>
                    <a:pt x="164" y="14"/>
                    <a:pt x="170" y="8"/>
                  </a:cubicBezTo>
                  <a:cubicBezTo>
                    <a:pt x="176" y="2"/>
                    <a:pt x="183" y="0"/>
                    <a:pt x="191" y="0"/>
                  </a:cubicBezTo>
                  <a:lnTo>
                    <a:pt x="252" y="0"/>
                  </a:lnTo>
                  <a:cubicBezTo>
                    <a:pt x="260" y="0"/>
                    <a:pt x="267" y="2"/>
                    <a:pt x="273" y="8"/>
                  </a:cubicBezTo>
                  <a:cubicBezTo>
                    <a:pt x="279" y="14"/>
                    <a:pt x="282" y="21"/>
                    <a:pt x="282" y="30"/>
                  </a:cubicBezTo>
                  <a:lnTo>
                    <a:pt x="282" y="161"/>
                  </a:lnTo>
                  <a:lnTo>
                    <a:pt x="413" y="161"/>
                  </a:lnTo>
                  <a:cubicBezTo>
                    <a:pt x="422" y="161"/>
                    <a:pt x="429" y="164"/>
                    <a:pt x="435" y="170"/>
                  </a:cubicBezTo>
                  <a:cubicBezTo>
                    <a:pt x="440" y="175"/>
                    <a:pt x="443" y="183"/>
                    <a:pt x="443" y="191"/>
                  </a:cubicBezTo>
                  <a:lnTo>
                    <a:pt x="443" y="252"/>
                  </a:lnTo>
                  <a:cubicBezTo>
                    <a:pt x="443" y="260"/>
                    <a:pt x="440" y="267"/>
                    <a:pt x="435" y="273"/>
                  </a:cubicBezTo>
                  <a:cubicBezTo>
                    <a:pt x="429" y="279"/>
                    <a:pt x="422" y="282"/>
                    <a:pt x="413" y="282"/>
                  </a:cubicBezTo>
                  <a:lnTo>
                    <a:pt x="282" y="282"/>
                  </a:lnTo>
                  <a:lnTo>
                    <a:pt x="282" y="413"/>
                  </a:lnTo>
                  <a:cubicBezTo>
                    <a:pt x="282" y="421"/>
                    <a:pt x="279" y="428"/>
                    <a:pt x="273" y="434"/>
                  </a:cubicBezTo>
                  <a:cubicBezTo>
                    <a:pt x="267" y="440"/>
                    <a:pt x="260" y="443"/>
                    <a:pt x="252" y="443"/>
                  </a:cubicBezTo>
                  <a:lnTo>
                    <a:pt x="191" y="443"/>
                  </a:lnTo>
                  <a:cubicBezTo>
                    <a:pt x="183" y="443"/>
                    <a:pt x="176" y="440"/>
                    <a:pt x="170" y="434"/>
                  </a:cubicBezTo>
                  <a:cubicBezTo>
                    <a:pt x="164" y="428"/>
                    <a:pt x="161" y="421"/>
                    <a:pt x="161" y="413"/>
                  </a:cubicBezTo>
                  <a:lnTo>
                    <a:pt x="161" y="282"/>
                  </a:lnTo>
                  <a:lnTo>
                    <a:pt x="30" y="282"/>
                  </a:lnTo>
                  <a:cubicBezTo>
                    <a:pt x="22" y="282"/>
                    <a:pt x="15" y="279"/>
                    <a:pt x="9" y="273"/>
                  </a:cubicBezTo>
                  <a:cubicBezTo>
                    <a:pt x="3" y="267"/>
                    <a:pt x="0" y="260"/>
                    <a:pt x="0" y="252"/>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53">
            <a:extLst>
              <a:ext uri="{FF2B5EF4-FFF2-40B4-BE49-F238E27FC236}">
                <a16:creationId xmlns:a16="http://schemas.microsoft.com/office/drawing/2014/main" id="{CACF4A2C-8262-2AC4-C737-D26DBF2AC43C}"/>
              </a:ext>
            </a:extLst>
          </p:cNvPr>
          <p:cNvSpPr>
            <a:spLocks/>
          </p:cNvSpPr>
          <p:nvPr/>
        </p:nvSpPr>
        <p:spPr bwMode="auto">
          <a:xfrm>
            <a:off x="6897717" y="3215659"/>
            <a:ext cx="380791" cy="374841"/>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7" name="Agrupar 6">
            <a:extLst>
              <a:ext uri="{FF2B5EF4-FFF2-40B4-BE49-F238E27FC236}">
                <a16:creationId xmlns:a16="http://schemas.microsoft.com/office/drawing/2014/main" id="{1AEE3E63-1208-C648-8A3E-D046CF733E2F}"/>
              </a:ext>
            </a:extLst>
          </p:cNvPr>
          <p:cNvGrpSpPr/>
          <p:nvPr/>
        </p:nvGrpSpPr>
        <p:grpSpPr>
          <a:xfrm>
            <a:off x="5331616" y="4405619"/>
            <a:ext cx="1240823" cy="1099161"/>
            <a:chOff x="5186876" y="4072607"/>
            <a:chExt cx="1996282" cy="1768371"/>
          </a:xfrm>
        </p:grpSpPr>
        <p:grpSp>
          <p:nvGrpSpPr>
            <p:cNvPr id="48" name="Agrupar 47">
              <a:extLst>
                <a:ext uri="{FF2B5EF4-FFF2-40B4-BE49-F238E27FC236}">
                  <a16:creationId xmlns:a16="http://schemas.microsoft.com/office/drawing/2014/main" id="{B6AF0A4C-39A0-4054-DDA8-BFCBAA5093BA}"/>
                </a:ext>
              </a:extLst>
            </p:cNvPr>
            <p:cNvGrpSpPr/>
            <p:nvPr/>
          </p:nvGrpSpPr>
          <p:grpSpPr>
            <a:xfrm>
              <a:off x="5350377" y="5010418"/>
              <a:ext cx="1801038" cy="830560"/>
              <a:chOff x="6262899" y="3403957"/>
              <a:chExt cx="2492154" cy="1149272"/>
            </a:xfrm>
          </p:grpSpPr>
          <p:pic>
            <p:nvPicPr>
              <p:cNvPr id="59" name="Imagem 58">
                <a:extLst>
                  <a:ext uri="{FF2B5EF4-FFF2-40B4-BE49-F238E27FC236}">
                    <a16:creationId xmlns:a16="http://schemas.microsoft.com/office/drawing/2014/main" id="{261F9422-A585-2358-A442-83DD96C3B21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9306" b="28194"/>
              <a:stretch/>
            </p:blipFill>
            <p:spPr>
              <a:xfrm>
                <a:off x="6494257" y="3553440"/>
                <a:ext cx="1947600" cy="827730"/>
              </a:xfrm>
              <a:prstGeom prst="rect">
                <a:avLst/>
              </a:prstGeom>
            </p:spPr>
          </p:pic>
          <p:pic>
            <p:nvPicPr>
              <p:cNvPr id="60" name="Imagem 59">
                <a:extLst>
                  <a:ext uri="{FF2B5EF4-FFF2-40B4-BE49-F238E27FC236}">
                    <a16:creationId xmlns:a16="http://schemas.microsoft.com/office/drawing/2014/main" id="{05E6D915-EC55-5555-1C30-74683600A6F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7200000">
                <a:off x="6470402" y="4015446"/>
                <a:ext cx="330280" cy="745285"/>
              </a:xfrm>
              <a:prstGeom prst="rect">
                <a:avLst/>
              </a:prstGeom>
            </p:spPr>
          </p:pic>
          <p:pic>
            <p:nvPicPr>
              <p:cNvPr id="61" name="Imagem 60">
                <a:extLst>
                  <a:ext uri="{FF2B5EF4-FFF2-40B4-BE49-F238E27FC236}">
                    <a16:creationId xmlns:a16="http://schemas.microsoft.com/office/drawing/2014/main" id="{416C65E6-15E1-5F2C-4DD4-040899CC0C9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4400000">
                <a:off x="6470403" y="3196454"/>
                <a:ext cx="330280" cy="745285"/>
              </a:xfrm>
              <a:prstGeom prst="rect">
                <a:avLst/>
              </a:prstGeom>
            </p:spPr>
          </p:pic>
          <p:pic>
            <p:nvPicPr>
              <p:cNvPr id="62" name="Imagem 61">
                <a:extLst>
                  <a:ext uri="{FF2B5EF4-FFF2-40B4-BE49-F238E27FC236}">
                    <a16:creationId xmlns:a16="http://schemas.microsoft.com/office/drawing/2014/main" id="{06DBD0DB-0842-518B-B61B-1ECDE3FF1C4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3600000">
                <a:off x="8217271" y="4015446"/>
                <a:ext cx="330280" cy="745285"/>
              </a:xfrm>
              <a:prstGeom prst="rect">
                <a:avLst/>
              </a:prstGeom>
            </p:spPr>
          </p:pic>
          <p:pic>
            <p:nvPicPr>
              <p:cNvPr id="63" name="Imagem 62">
                <a:extLst>
                  <a:ext uri="{FF2B5EF4-FFF2-40B4-BE49-F238E27FC236}">
                    <a16:creationId xmlns:a16="http://schemas.microsoft.com/office/drawing/2014/main" id="{D8E5DAB1-2CB2-3C11-B7C4-F3573E0981D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0293" t="15914" r="15627" b="29749"/>
              <a:stretch/>
            </p:blipFill>
            <p:spPr>
              <a:xfrm rot="18000000">
                <a:off x="8217271" y="3196456"/>
                <a:ext cx="330280" cy="745285"/>
              </a:xfrm>
              <a:prstGeom prst="rect">
                <a:avLst/>
              </a:prstGeom>
            </p:spPr>
          </p:pic>
        </p:grpSp>
        <p:pic>
          <p:nvPicPr>
            <p:cNvPr id="49" name="Imagem 48">
              <a:extLst>
                <a:ext uri="{FF2B5EF4-FFF2-40B4-BE49-F238E27FC236}">
                  <a16:creationId xmlns:a16="http://schemas.microsoft.com/office/drawing/2014/main" id="{A1BE56C5-B977-87C8-8BA3-41BCB9F8A3B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53178" y="4130538"/>
              <a:ext cx="929980" cy="929980"/>
            </a:xfrm>
            <a:prstGeom prst="rect">
              <a:avLst/>
            </a:prstGeom>
          </p:spPr>
        </p:pic>
        <p:pic>
          <p:nvPicPr>
            <p:cNvPr id="65" name="Imagem 64">
              <a:extLst>
                <a:ext uri="{FF2B5EF4-FFF2-40B4-BE49-F238E27FC236}">
                  <a16:creationId xmlns:a16="http://schemas.microsoft.com/office/drawing/2014/main" id="{D3B32466-064A-6FD1-2535-70FA7428E9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6876" y="4072607"/>
              <a:ext cx="929981" cy="929981"/>
            </a:xfrm>
            <a:prstGeom prst="rect">
              <a:avLst/>
            </a:prstGeom>
          </p:spPr>
        </p:pic>
      </p:grpSp>
      <p:sp>
        <p:nvSpPr>
          <p:cNvPr id="66" name="Freeform 53">
            <a:extLst>
              <a:ext uri="{FF2B5EF4-FFF2-40B4-BE49-F238E27FC236}">
                <a16:creationId xmlns:a16="http://schemas.microsoft.com/office/drawing/2014/main" id="{920C1626-1EF5-52ED-7BB2-638F1F325561}"/>
              </a:ext>
            </a:extLst>
          </p:cNvPr>
          <p:cNvSpPr>
            <a:spLocks/>
          </p:cNvSpPr>
          <p:nvPr/>
        </p:nvSpPr>
        <p:spPr bwMode="auto">
          <a:xfrm>
            <a:off x="6897717" y="4767779"/>
            <a:ext cx="380791" cy="374841"/>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68" name="Agrupar 67">
            <a:extLst>
              <a:ext uri="{FF2B5EF4-FFF2-40B4-BE49-F238E27FC236}">
                <a16:creationId xmlns:a16="http://schemas.microsoft.com/office/drawing/2014/main" id="{6AF02793-B8BE-7503-9F68-FFCB6DAA7A2E}"/>
              </a:ext>
            </a:extLst>
          </p:cNvPr>
          <p:cNvGrpSpPr/>
          <p:nvPr/>
        </p:nvGrpSpPr>
        <p:grpSpPr>
          <a:xfrm>
            <a:off x="7551961" y="4553791"/>
            <a:ext cx="1546226" cy="802816"/>
            <a:chOff x="7656768" y="4324882"/>
            <a:chExt cx="1376426" cy="714654"/>
          </a:xfrm>
        </p:grpSpPr>
        <p:pic>
          <p:nvPicPr>
            <p:cNvPr id="9" name="Gráfico 8">
              <a:extLst>
                <a:ext uri="{FF2B5EF4-FFF2-40B4-BE49-F238E27FC236}">
                  <a16:creationId xmlns:a16="http://schemas.microsoft.com/office/drawing/2014/main" id="{1E5AAE7D-BB56-975B-F4C8-8D316D038E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321070">
              <a:off x="7656768" y="4324882"/>
              <a:ext cx="661345" cy="684150"/>
            </a:xfrm>
            <a:prstGeom prst="rect">
              <a:avLst/>
            </a:prstGeom>
          </p:spPr>
        </p:pic>
        <p:pic>
          <p:nvPicPr>
            <p:cNvPr id="67" name="Gráfico 66">
              <a:extLst>
                <a:ext uri="{FF2B5EF4-FFF2-40B4-BE49-F238E27FC236}">
                  <a16:creationId xmlns:a16="http://schemas.microsoft.com/office/drawing/2014/main" id="{0AFEAE35-C13E-49F4-6E2A-1900D0C65E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843262">
              <a:off x="8371849" y="4355386"/>
              <a:ext cx="661345" cy="684150"/>
            </a:xfrm>
            <a:prstGeom prst="rect">
              <a:avLst/>
            </a:prstGeom>
          </p:spPr>
        </p:pic>
      </p:grpSp>
      <p:sp>
        <p:nvSpPr>
          <p:cNvPr id="70" name="Retângulo 69">
            <a:extLst>
              <a:ext uri="{FF2B5EF4-FFF2-40B4-BE49-F238E27FC236}">
                <a16:creationId xmlns:a16="http://schemas.microsoft.com/office/drawing/2014/main" id="{1A5EF217-43A6-C696-79D3-FDE45189FF86}"/>
              </a:ext>
            </a:extLst>
          </p:cNvPr>
          <p:cNvSpPr/>
          <p:nvPr/>
        </p:nvSpPr>
        <p:spPr>
          <a:xfrm>
            <a:off x="334950" y="792000"/>
            <a:ext cx="4385282"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000095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Conclusion and outlook: </a:t>
            </a:r>
            <a:r>
              <a:rPr lang="en-US" b="0" i="1" dirty="0"/>
              <a:t>Outlook</a:t>
            </a:r>
          </a:p>
        </p:txBody>
      </p:sp>
    </p:spTree>
    <p:extLst>
      <p:ext uri="{BB962C8B-B14F-4D97-AF65-F5344CB8AC3E}">
        <p14:creationId xmlns:p14="http://schemas.microsoft.com/office/powerpoint/2010/main" val="247227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body" idx="1"/>
          </p:nvPr>
        </p:nvSpPr>
        <p:spPr>
          <a:xfrm>
            <a:off x="3854220" y="3508335"/>
            <a:ext cx="5471999" cy="770965"/>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rgbClr val="193278"/>
              </a:buClr>
              <a:buSzPts val="3600"/>
              <a:buNone/>
            </a:pPr>
            <a:r>
              <a:rPr lang="en-US" dirty="0"/>
              <a:t>Thank</a:t>
            </a:r>
            <a:r>
              <a:rPr lang="pt-BR" dirty="0"/>
              <a:t> </a:t>
            </a:r>
            <a:r>
              <a:rPr lang="pt-BR" dirty="0" err="1"/>
              <a:t>You</a:t>
            </a:r>
            <a:r>
              <a:rPr lang="pt-BR" dirty="0"/>
              <a:t>!</a:t>
            </a:r>
            <a:endParaRPr dirty="0"/>
          </a:p>
        </p:txBody>
      </p:sp>
      <p:sp>
        <p:nvSpPr>
          <p:cNvPr id="723" name="Google Shape;723;p60"/>
          <p:cNvSpPr txBox="1">
            <a:spLocks noGrp="1"/>
          </p:cNvSpPr>
          <p:nvPr>
            <p:ph type="body" idx="2"/>
          </p:nvPr>
        </p:nvSpPr>
        <p:spPr>
          <a:xfrm>
            <a:off x="3959244" y="4913971"/>
            <a:ext cx="5471999" cy="842216"/>
          </a:xfrm>
          <a:prstGeom prst="rect">
            <a:avLst/>
          </a:prstGeom>
          <a:noFill/>
          <a:ln>
            <a:noFill/>
          </a:ln>
        </p:spPr>
        <p:txBody>
          <a:bodyPr spcFirstLastPara="1" wrap="square" lIns="91425" tIns="45700" rIns="91425" bIns="45700" anchor="t" anchorCtr="0">
            <a:noAutofit/>
          </a:bodyPr>
          <a:lstStyle/>
          <a:p>
            <a:pPr marL="0" marR="0" lvl="0" indent="0" algn="r" rtl="0">
              <a:lnSpc>
                <a:spcPct val="90000"/>
              </a:lnSpc>
              <a:spcBef>
                <a:spcPts val="1000"/>
              </a:spcBef>
              <a:spcAft>
                <a:spcPts val="0"/>
              </a:spcAft>
              <a:buClr>
                <a:srgbClr val="555555"/>
              </a:buClr>
              <a:buSzPts val="1800"/>
              <a:buFont typeface="Arial"/>
              <a:buNone/>
            </a:pPr>
            <a:r>
              <a:rPr lang="pt-BR" dirty="0">
                <a:solidFill>
                  <a:srgbClr val="555555"/>
                </a:solidFill>
              </a:rPr>
              <a:t>Ivan de Souza Rehder</a:t>
            </a:r>
            <a:endParaRPr dirty="0">
              <a:solidFill>
                <a:srgbClr val="555555"/>
              </a:solidFill>
            </a:endParaRPr>
          </a:p>
          <a:p>
            <a:pPr marL="0" marR="0" lvl="0" indent="0" algn="r" rtl="0">
              <a:lnSpc>
                <a:spcPct val="90000"/>
              </a:lnSpc>
              <a:spcBef>
                <a:spcPts val="1000"/>
              </a:spcBef>
              <a:spcAft>
                <a:spcPts val="0"/>
              </a:spcAft>
              <a:buClr>
                <a:srgbClr val="555555"/>
              </a:buClr>
              <a:buSzPts val="1800"/>
              <a:buFont typeface="Arial"/>
              <a:buNone/>
            </a:pPr>
            <a:r>
              <a:rPr lang="pt-BR" b="0" dirty="0">
                <a:solidFill>
                  <a:srgbClr val="555555"/>
                </a:solidFill>
              </a:rPr>
              <a:t>ivan@ita.br / (55-12) 3947-5779</a:t>
            </a:r>
            <a:endParaRPr dirty="0"/>
          </a:p>
          <a:p>
            <a:pPr marL="0" marR="0" lvl="0" indent="0" algn="r" rtl="0">
              <a:lnSpc>
                <a:spcPct val="90000"/>
              </a:lnSpc>
              <a:spcBef>
                <a:spcPts val="1000"/>
              </a:spcBef>
              <a:spcAft>
                <a:spcPts val="0"/>
              </a:spcAft>
              <a:buClr>
                <a:srgbClr val="555555"/>
              </a:buClr>
              <a:buSzPts val="1800"/>
              <a:buFont typeface="Arial"/>
              <a:buNone/>
            </a:pPr>
            <a:endParaRPr dirty="0"/>
          </a:p>
        </p:txBody>
      </p:sp>
      <p:sp>
        <p:nvSpPr>
          <p:cNvPr id="4" name="Google Shape;4654;p52">
            <a:extLst>
              <a:ext uri="{FF2B5EF4-FFF2-40B4-BE49-F238E27FC236}">
                <a16:creationId xmlns:a16="http://schemas.microsoft.com/office/drawing/2014/main" id="{DEC15BEB-7005-7531-0DC1-2DB51A76D659}"/>
              </a:ext>
            </a:extLst>
          </p:cNvPr>
          <p:cNvSpPr txBox="1">
            <a:spLocks/>
          </p:cNvSpPr>
          <p:nvPr/>
        </p:nvSpPr>
        <p:spPr>
          <a:xfrm>
            <a:off x="3854220" y="453853"/>
            <a:ext cx="5471999" cy="77096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ctr" rtl="0">
              <a:lnSpc>
                <a:spcPct val="90000"/>
              </a:lnSpc>
              <a:spcBef>
                <a:spcPts val="1000"/>
              </a:spcBef>
              <a:spcAft>
                <a:spcPts val="0"/>
              </a:spcAft>
              <a:buClr>
                <a:srgbClr val="193278"/>
              </a:buClr>
              <a:buSzPts val="3600"/>
              <a:buFont typeface="Arial"/>
              <a:buNone/>
              <a:defRPr sz="3600" b="1" i="0" u="none" strike="noStrike" cap="none">
                <a:solidFill>
                  <a:srgbClr val="193278"/>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SzPts val="3330"/>
            </a:pPr>
            <a:r>
              <a:rPr lang="en-US" sz="3330"/>
              <a:t>Acknowledgments</a:t>
            </a:r>
            <a:endParaRPr lang="en-US" dirty="0"/>
          </a:p>
        </p:txBody>
      </p:sp>
      <p:pic>
        <p:nvPicPr>
          <p:cNvPr id="5" name="Picture 1">
            <a:extLst>
              <a:ext uri="{FF2B5EF4-FFF2-40B4-BE49-F238E27FC236}">
                <a16:creationId xmlns:a16="http://schemas.microsoft.com/office/drawing/2014/main" id="{53AEE477-C379-9B7E-821F-03ABAE81E6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9244" y="1310704"/>
            <a:ext cx="2754894" cy="857285"/>
          </a:xfrm>
          <a:prstGeom prst="rect">
            <a:avLst/>
          </a:prstGeom>
        </p:spPr>
      </p:pic>
      <p:pic>
        <p:nvPicPr>
          <p:cNvPr id="1026" name="Picture 2" descr="logo original fundo claro">
            <a:extLst>
              <a:ext uri="{FF2B5EF4-FFF2-40B4-BE49-F238E27FC236}">
                <a16:creationId xmlns:a16="http://schemas.microsoft.com/office/drawing/2014/main" id="{45F415CC-ACE2-1B13-E8B2-FBA58E577F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9842" y="1224818"/>
            <a:ext cx="1169094" cy="108240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03219"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Agrupar 25">
            <a:extLst>
              <a:ext uri="{FF2B5EF4-FFF2-40B4-BE49-F238E27FC236}">
                <a16:creationId xmlns:a16="http://schemas.microsoft.com/office/drawing/2014/main" id="{0E5276EB-5BDD-0FA7-1C1C-69968CA518AB}"/>
              </a:ext>
            </a:extLst>
          </p:cNvPr>
          <p:cNvGrpSpPr/>
          <p:nvPr/>
        </p:nvGrpSpPr>
        <p:grpSpPr>
          <a:xfrm>
            <a:off x="528161" y="791999"/>
            <a:ext cx="2199604" cy="1884684"/>
            <a:chOff x="528161" y="791999"/>
            <a:chExt cx="2199604" cy="1884684"/>
          </a:xfrm>
        </p:grpSpPr>
        <p:sp>
          <p:nvSpPr>
            <p:cNvPr id="27" name="Retângulo 26">
              <a:extLst>
                <a:ext uri="{FF2B5EF4-FFF2-40B4-BE49-F238E27FC236}">
                  <a16:creationId xmlns:a16="http://schemas.microsoft.com/office/drawing/2014/main" id="{C57E24D5-33C8-6F53-BC38-8982580A83A1}"/>
                </a:ext>
              </a:extLst>
            </p:cNvPr>
            <p:cNvSpPr/>
            <p:nvPr/>
          </p:nvSpPr>
          <p:spPr>
            <a:xfrm>
              <a:off x="528161" y="791999"/>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83041D98-CA91-7B7A-5346-4BA7F53B9CBC}"/>
                </a:ext>
              </a:extLst>
            </p:cNvPr>
            <p:cNvPicPr>
              <a:picLocks noChangeAspect="1"/>
            </p:cNvPicPr>
            <p:nvPr/>
          </p:nvPicPr>
          <p:blipFill>
            <a:blip r:embed="rId4"/>
            <a:stretch>
              <a:fillRect/>
            </a:stretch>
          </p:blipFill>
          <p:spPr>
            <a:xfrm>
              <a:off x="758922" y="892951"/>
              <a:ext cx="1679477" cy="1679477"/>
            </a:xfrm>
            <a:prstGeom prst="rect">
              <a:avLst/>
            </a:prstGeom>
          </p:spPr>
        </p:pic>
      </p:grpSp>
      <p:grpSp>
        <p:nvGrpSpPr>
          <p:cNvPr id="35" name="Agrupar 34">
            <a:extLst>
              <a:ext uri="{FF2B5EF4-FFF2-40B4-BE49-F238E27FC236}">
                <a16:creationId xmlns:a16="http://schemas.microsoft.com/office/drawing/2014/main" id="{CC2011BB-7EC1-AF49-613C-0D9D92FCF485}"/>
              </a:ext>
            </a:extLst>
          </p:cNvPr>
          <p:cNvGrpSpPr/>
          <p:nvPr/>
        </p:nvGrpSpPr>
        <p:grpSpPr>
          <a:xfrm>
            <a:off x="3808994" y="792000"/>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5"/>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6"/>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7"/>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792000"/>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8"/>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9"/>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10"/>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3187126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949"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Agrupar 34">
            <a:extLst>
              <a:ext uri="{FF2B5EF4-FFF2-40B4-BE49-F238E27FC236}">
                <a16:creationId xmlns:a16="http://schemas.microsoft.com/office/drawing/2014/main" id="{CC2011BB-7EC1-AF49-613C-0D9D92FCF485}"/>
              </a:ext>
            </a:extLst>
          </p:cNvPr>
          <p:cNvGrpSpPr/>
          <p:nvPr/>
        </p:nvGrpSpPr>
        <p:grpSpPr>
          <a:xfrm>
            <a:off x="3808994" y="792000"/>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4"/>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5"/>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6"/>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792000"/>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7"/>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8"/>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9"/>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31532872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8" name="Retângulo 17">
            <a:extLst>
              <a:ext uri="{FF2B5EF4-FFF2-40B4-BE49-F238E27FC236}">
                <a16:creationId xmlns:a16="http://schemas.microsoft.com/office/drawing/2014/main" id="{B11A78AB-2F41-D003-8F47-D35B0E41474E}"/>
              </a:ext>
            </a:extLst>
          </p:cNvPr>
          <p:cNvSpPr/>
          <p:nvPr/>
        </p:nvSpPr>
        <p:spPr>
          <a:xfrm>
            <a:off x="2727765" y="791521"/>
            <a:ext cx="6650384" cy="5273999"/>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3836"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Agrupar 25">
            <a:extLst>
              <a:ext uri="{FF2B5EF4-FFF2-40B4-BE49-F238E27FC236}">
                <a16:creationId xmlns:a16="http://schemas.microsoft.com/office/drawing/2014/main" id="{0E5276EB-5BDD-0FA7-1C1C-69968CA518AB}"/>
              </a:ext>
            </a:extLst>
          </p:cNvPr>
          <p:cNvGrpSpPr/>
          <p:nvPr/>
        </p:nvGrpSpPr>
        <p:grpSpPr>
          <a:xfrm>
            <a:off x="2746504" y="791999"/>
            <a:ext cx="2199604" cy="1884684"/>
            <a:chOff x="528161" y="791999"/>
            <a:chExt cx="2199604" cy="1884684"/>
          </a:xfrm>
        </p:grpSpPr>
        <p:sp>
          <p:nvSpPr>
            <p:cNvPr id="27" name="Retângulo 26">
              <a:extLst>
                <a:ext uri="{FF2B5EF4-FFF2-40B4-BE49-F238E27FC236}">
                  <a16:creationId xmlns:a16="http://schemas.microsoft.com/office/drawing/2014/main" id="{C57E24D5-33C8-6F53-BC38-8982580A83A1}"/>
                </a:ext>
              </a:extLst>
            </p:cNvPr>
            <p:cNvSpPr/>
            <p:nvPr/>
          </p:nvSpPr>
          <p:spPr>
            <a:xfrm>
              <a:off x="528161" y="791999"/>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83041D98-CA91-7B7A-5346-4BA7F53B9CBC}"/>
                </a:ext>
              </a:extLst>
            </p:cNvPr>
            <p:cNvPicPr>
              <a:picLocks noChangeAspect="1"/>
            </p:cNvPicPr>
            <p:nvPr/>
          </p:nvPicPr>
          <p:blipFill>
            <a:blip r:embed="rId4"/>
            <a:stretch>
              <a:fillRect/>
            </a:stretch>
          </p:blipFill>
          <p:spPr>
            <a:xfrm>
              <a:off x="758922" y="892951"/>
              <a:ext cx="1679477" cy="1679477"/>
            </a:xfrm>
            <a:prstGeom prst="rect">
              <a:avLst/>
            </a:prstGeom>
          </p:spPr>
        </p:pic>
      </p:grpSp>
      <p:grpSp>
        <p:nvGrpSpPr>
          <p:cNvPr id="35" name="Agrupar 34">
            <a:extLst>
              <a:ext uri="{FF2B5EF4-FFF2-40B4-BE49-F238E27FC236}">
                <a16:creationId xmlns:a16="http://schemas.microsoft.com/office/drawing/2014/main" id="{CC2011BB-7EC1-AF49-613C-0D9D92FCF485}"/>
              </a:ext>
            </a:extLst>
          </p:cNvPr>
          <p:cNvGrpSpPr/>
          <p:nvPr/>
        </p:nvGrpSpPr>
        <p:grpSpPr>
          <a:xfrm>
            <a:off x="4964847" y="2498056"/>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5"/>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6"/>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7"/>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4180836"/>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8"/>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9"/>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10"/>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6500193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8" name="Retângulo 17">
            <a:extLst>
              <a:ext uri="{FF2B5EF4-FFF2-40B4-BE49-F238E27FC236}">
                <a16:creationId xmlns:a16="http://schemas.microsoft.com/office/drawing/2014/main" id="{B11A78AB-2F41-D003-8F47-D35B0E41474E}"/>
              </a:ext>
            </a:extLst>
          </p:cNvPr>
          <p:cNvSpPr/>
          <p:nvPr/>
        </p:nvSpPr>
        <p:spPr>
          <a:xfrm>
            <a:off x="2727765" y="791521"/>
            <a:ext cx="6650384" cy="5273999"/>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3836"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Agrupar 34">
            <a:extLst>
              <a:ext uri="{FF2B5EF4-FFF2-40B4-BE49-F238E27FC236}">
                <a16:creationId xmlns:a16="http://schemas.microsoft.com/office/drawing/2014/main" id="{CC2011BB-7EC1-AF49-613C-0D9D92FCF485}"/>
              </a:ext>
            </a:extLst>
          </p:cNvPr>
          <p:cNvGrpSpPr/>
          <p:nvPr/>
        </p:nvGrpSpPr>
        <p:grpSpPr>
          <a:xfrm>
            <a:off x="4964847" y="2498056"/>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4"/>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5"/>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6"/>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4180836"/>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7"/>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8"/>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9"/>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10208702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27143"/>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sp>
        <p:nvSpPr>
          <p:cNvPr id="21" name="Retângulo 20">
            <a:extLst>
              <a:ext uri="{FF2B5EF4-FFF2-40B4-BE49-F238E27FC236}">
                <a16:creationId xmlns:a16="http://schemas.microsoft.com/office/drawing/2014/main" id="{C8405C7B-DFB8-1481-D378-2867585425C3}"/>
              </a:ext>
            </a:extLst>
          </p:cNvPr>
          <p:cNvSpPr/>
          <p:nvPr/>
        </p:nvSpPr>
        <p:spPr>
          <a:xfrm>
            <a:off x="334949" y="792000"/>
            <a:ext cx="3791238" cy="2614493"/>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11954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sp>
        <p:nvSpPr>
          <p:cNvPr id="29" name="Retângulo 28">
            <a:extLst>
              <a:ext uri="{FF2B5EF4-FFF2-40B4-BE49-F238E27FC236}">
                <a16:creationId xmlns:a16="http://schemas.microsoft.com/office/drawing/2014/main" id="{581169DF-C311-60B2-8091-86E248F6E665}"/>
              </a:ext>
            </a:extLst>
          </p:cNvPr>
          <p:cNvSpPr/>
          <p:nvPr/>
        </p:nvSpPr>
        <p:spPr>
          <a:xfrm>
            <a:off x="308004" y="3406493"/>
            <a:ext cx="3818183"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32" name="Imagem 31">
            <a:extLst>
              <a:ext uri="{FF2B5EF4-FFF2-40B4-BE49-F238E27FC236}">
                <a16:creationId xmlns:a16="http://schemas.microsoft.com/office/drawing/2014/main" id="{B27AE80C-9B87-FAF9-6FD7-C46D2BC9D2A8}"/>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067708" y="954845"/>
            <a:ext cx="5283494" cy="4948310"/>
          </a:xfrm>
          <a:prstGeom prst="rect">
            <a:avLst/>
          </a:prstGeom>
        </p:spPr>
      </p:pic>
      <p:sp>
        <p:nvSpPr>
          <p:cNvPr id="31" name="Retângulo 30">
            <a:extLst>
              <a:ext uri="{FF2B5EF4-FFF2-40B4-BE49-F238E27FC236}">
                <a16:creationId xmlns:a16="http://schemas.microsoft.com/office/drawing/2014/main" id="{55C02531-C0F8-EB01-BEE3-A70C4ACBC475}"/>
              </a:ext>
            </a:extLst>
          </p:cNvPr>
          <p:cNvSpPr/>
          <p:nvPr/>
        </p:nvSpPr>
        <p:spPr>
          <a:xfrm>
            <a:off x="4126187" y="760449"/>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4089747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ITA&quot; id=&quot;257_2&quot;&gt;&lt;standard&gt;&lt;textframe horizontalAnchor=&quot;1&quot; marginBottom=&quot;3.9&quot; marginLeft=&quot;0&quot; marginRight=&quot;0&quot; marginTop=&quot;3.9&quot; orientation=&quot;1&quot; verticalAnchor=&quot;3&quot; /&gt;&lt;font name=&quot;Calibri&quot; bold=&quot;0&quot; italic=&quot;0&quot; color=&quot;#555555&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4.01575&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101.3594&quot; top=&quot;127.3626&quot; width=&quot;637.0775&quot; height=&quot;319.6261&quot; /&gt;&lt;title&gt;&lt;position left=&quot;26.37394&quot; top=&quot;10.17945&quot; width=&quot;712.063&quot; height=&quot;36.33401&quot; /&gt;&lt;font name=&quot;Calibri&quot; size=&quot;24&quot; color=&quot;#555555&quot; bold=&quot;1&quot; /&gt;&lt;textframe marginBottom=&quot;0&quot; marginTop=&quot;0&quot; marginLeft=&quot;0.25&quot; /&gt;&lt;paragraphformat alignment=&quot;1&quot; /&gt;&lt;/title&gt;&lt;settings allowedSizingModeIds=&quot;1|2&quot; allowedFontSizes=&quot;8|9|10.5|11|12|14|16|18&quot; allowedTimeFormatIds=&quot;1|2|3&quot; slideLayout=&quot;11&quot; customLayoutName=&quot;Título e conteúdo&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element&gt;&lt;element field=&quot;topic&quot; type=&quot;autoshape&quot; autoShapeType=&quot;1&quot; indent=&quot;(level-1)*(itemSingleHeight+topicLeftSpacing)&quot; indentType=&quot;2&quot;&gt;&lt;paragraphformat alignment=&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ont color=&quot;#ffffff&quot; /&gt;&lt;/element&gt;&lt;element field=&quot;topic&quot; type=&quot;autoshape&quot; autoShapeType=&quot;1&quot; indent=&quot;(level-1)*(itemSingleHeight+topicLeftSpacing)&quot; indentType=&quot;2&quot;&gt;&lt;paragraphformat alignment=&quot;1&quot; /&gt;&lt;font color=&quot;#ffffff&quot; /&gt;&lt;textframe marginLeft=&quot;6&quot; /&gt;&lt;/element&gt;&lt;element field=&quot;responsible&quot; type=&quot;autoshape&quot; autoShapeType=&quot;1&quot; indent=&quot;(level-1)*(itemSingleHeight+topicLeftSpacing)&quot; indentType=&quot;1&quot;&gt;&lt;paragraphformat alignment=&quot;1&quot; /&gt;&lt;font color=&quot;#ffffff&quot; /&gt;&lt;/element&gt;&lt;element field=&quot;freecolumn&quot; type=&quot;autoshape&quot; autoShapeType=&quot;1&quot; indent=&quot;(level-1)*(itemSingleHeight+topicLeftSpacing)&quot; indentType=&quot;1&quot;&gt;&lt;paragraphformat alignment=&quot;1&quot; /&gt;&lt;font color=&quot;#ffffff&quot; /&gt;&lt;/element&gt;&lt;element field=&quot;timeslot&quot; type=&quot;autoshape&quot; autoShapeType=&quot;1&quot;&gt;&lt;paragraphformat alignment=&quot;1&quot; /&gt;&lt;font color=&quot;#ffffff&quot; /&gt;&lt;/element&gt;&lt;element field=&quot;pageno&quot; type=&quot;autoshape&quot; autoShapeType=&quot;1&quot;&gt;&lt;paragraphformat alignment=&quot;3&quot; /&gt;&lt;font color=&quot;#ffffff&quot; /&gt;&lt;/element&gt;&lt;/case&gt;&lt;case level=&quot;1&quot; selected=&quot;0&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topic&quot; type=&quot;autoshape&quot; autoShapeType=&quot;1&quot; indent=&quot;(level-1)*(itemSingleHeight+topicLeftSpacing)&quot; indentType=&quot;2&quot;&gt;&lt;paragraphformat alignment=&quot;1&quot; /&gt;&lt;textframe marginLeft=&quot;6&quot; /&gt;&lt;fon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topic&quot; type=&quot;autoshape&quot; autoShapeType=&quot;1&quot; indent=&quot;(level-1)*(itemSingleHeight+topicLeftSpacing)&quot; indentType=&quot;2&quot;&gt;&lt;paragraphformat alignment=&quot;1&quot; /&gt;&lt;font color=&quot;#ffffff&quot; italic=&quot;1&quot; /&gt;&lt;textframe marginLeft=&quot;6&quot; /&gt;&lt;/element&gt;&lt;element field=&quot;responsible&quot; type=&quot;autoshape&quot; autoShapeType=&quot;1&quot; indent=&quot;(level-1)*(itemSingleHeight+topicLeftSpacing)&quot; indentType=&quot;1&quot;&gt;&lt;paragraphformat alignment=&quot;1&quot; /&gt;&lt;font color=&quot;#ffffff&quot; italic=&quot;1&quot; /&gt;&lt;/element&gt;&lt;element field=&quot;freecolumn&quot; type=&quot;autoshape&quot; autoShapeType=&quot;1&quot; indent=&quot;(level-1)*(itemSingleHeight+topicLeftSpacing)&quot; indentType=&quot;1&quot;&gt;&lt;paragraphformat alignment=&quot;1&quot; /&gt;&lt;font color=&quot;#ffffff&quot; italic=&quot;1&quot; /&gt;&lt;/element&gt;&lt;element field=&quot;timeslot&quot; type=&quot;autoshape&quot; autoShapeType=&quot;1&quot;&gt;&lt;paragraphformat alignment=&quot;1&quot; /&gt;&lt;font color=&quot;#ffffff&quot; italic=&quot;1&quot; /&gt;&lt;/element&gt;&lt;element field=&quot;pageno&quot; type=&quot;autoshape&quot; autoShapeType=&quot;1&quot;&gt;&lt;paragraphformat alignment=&quot;3&quot; /&gt;&lt;font color=&quot;#ffffff&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layoutId=&quot;257_2&quot; createSections=&quot;0&quot; singleSlideId=&quot;c8fe68e8-b7f4-4d82-a8c1-6d6118165cc5&quot; backupSlideId=&quot;d4e55cf9-5d71-4703-b97d-2e041f557299&quot;&gt;&lt;columns&gt;&lt;column field=&quot;itemno&quot; label=&quot;No.&quot; checked=&quot;1&quot; leftSpacing=&quot;0&quot; rightSpacing=&quot;0&quot; dock=&quot;1&quot; fixedWidth=&quot;34.01575&quot; /&gt;&lt;column field=&quot;topic&quot; label=&quot;Topic&quot; leftSpacing=&quot;5&quot; rightDistribute=&quot;1&quot; dock=&quot;1&quot; rightSpacing=&quot;366.5729&quot; /&gt;&lt;column field=&quot;responsible&quot; label=&quot;Responsible&quot; visible=&quot;1&quot; checked=&quot;0&quot; leftSpacing=&quot;10&quot; rightDistribute=&quot;1&quot; dock=&quot;1&quot; rightSpacing=&quot;113.169&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111384a1-3de5-4bb1-a6c2-ecfbc3430316&quot; parentId=&quot;&quot; level=&quot;1&quot; generateAgendaSlide=&quot;1&quot; showAgendaItem=&quot;1&quot; isBreak=&quot;0&quot; topic=&quot;Introduction&quot; agendaSlideId=&quot;fb4163aa-6b1a-4dce-9cc5-1d1244a985a6&quot; /&gt;&lt;item duration=&quot;30&quot; id=&quot;6b708321-9f21-4007-8f04-7264397c6b98&quot; parentId=&quot;&quot; level=&quot;1&quot; generateAgendaSlide=&quot;1&quot; showAgendaItem=&quot;1&quot; isBreak=&quot;0&quot; topic=&quot;Objectives and Approach&quot; agendaSlideId=&quot;23c891e5-51bf-4129-8706-27ff6c041682&quot; /&gt;&lt;item duration=&quot;30&quot; id=&quot;38651f08-25a7-4874-bff2-fce3276f47bf&quot; parentId=&quot;&quot; level=&quot;1&quot; generateAgendaSlide=&quot;1&quot; showAgendaItem=&quot;1&quot; isBreak=&quot;0&quot; topic=&quot;Materials and Methods&quot; agendaSlideId=&quot;99293b63-2f69-44ce-9984-eb8a6da1714e&quot; /&gt;&lt;item duration=&quot;30&quot; id=&quot;775d14b3-6a93-4e81-b9be-b2d97f99c003&quot; parentId=&quot;&quot; level=&quot;1&quot; generateAgendaSlide=&quot;1&quot; showAgendaItem=&quot;1&quot; isBreak=&quot;0&quot; topic=&quot;Results and discussion&quot; agendaSlideId=&quot;adabc888-933b-4073-8e97-5e9b43badeb6&quot; /&gt;&lt;item duration=&quot;30&quot; id=&quot;eb8b1095-86ef-474d-bb94-542594205bb5&quot; parentId=&quot;&quot; level=&quot;1&quot; generateAgendaSlide=&quot;1&quot; showAgendaItem=&quot;1&quot; isBreak=&quot;0&quot; topic=&quot;Conclusion and outlook&quot; agendaSlideId=&quot;31268907-af52-4a54-8a93-17e5fe54116b&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SLIDEID" val="fb4163aa-6b1a-4dce-9cc5-1d1244a985a6"/>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xml><?xml version="1.0" encoding="utf-8"?>
<p:tagLst xmlns:a="http://schemas.openxmlformats.org/drawingml/2006/main" xmlns:r="http://schemas.openxmlformats.org/officeDocument/2006/relationships" xmlns:p="http://schemas.openxmlformats.org/presentationml/2006/main">
  <p:tag name="EE4P_SLIDEID" val="23c891e5-51bf-4129-8706-27ff6c04168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xml><?xml version="1.0" encoding="utf-8"?>
<p:tagLst xmlns:a="http://schemas.openxmlformats.org/drawingml/2006/main" xmlns:r="http://schemas.openxmlformats.org/officeDocument/2006/relationships" xmlns:p="http://schemas.openxmlformats.org/presentationml/2006/main">
  <p:tag name="EE4P_SLIDEID" val="99293b63-2f69-44ce-9984-eb8a6da1714e"/>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xml><?xml version="1.0" encoding="utf-8"?>
<p:tagLst xmlns:a="http://schemas.openxmlformats.org/drawingml/2006/main" xmlns:r="http://schemas.openxmlformats.org/officeDocument/2006/relationships" xmlns:p="http://schemas.openxmlformats.org/presentationml/2006/main">
  <p:tag name="EE4P_SLIDEID" val="adabc888-933b-4073-8e97-5e9b43badeb6"/>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xml><?xml version="1.0" encoding="utf-8"?>
<p:tagLst xmlns:a="http://schemas.openxmlformats.org/drawingml/2006/main" xmlns:r="http://schemas.openxmlformats.org/officeDocument/2006/relationships" xmlns:p="http://schemas.openxmlformats.org/presentationml/2006/main">
  <p:tag name="EE4P_SLIDEID" val="31268907-af52-4a54-8a93-17e5fe54116b"/>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95.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Tema do Office">
  <a:themeElements>
    <a:clrScheme name="Tema do 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Tema do Office">
  <a:themeElements>
    <a:clrScheme name="Escritório">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04</TotalTime>
  <Words>9011</Words>
  <Application>Microsoft Office PowerPoint</Application>
  <PresentationFormat>Personalizar</PresentationFormat>
  <Paragraphs>400</Paragraphs>
  <Slides>42</Slides>
  <Notes>36</Notes>
  <HiddenSlides>0</HiddenSlides>
  <MMClips>0</MMClips>
  <ScaleCrop>false</ScaleCrop>
  <HeadingPairs>
    <vt:vector size="6" baseType="variant">
      <vt:variant>
        <vt:lpstr>Fontes usadas</vt:lpstr>
      </vt:variant>
      <vt:variant>
        <vt:i4>8</vt:i4>
      </vt:variant>
      <vt:variant>
        <vt:lpstr>Tema</vt:lpstr>
      </vt:variant>
      <vt:variant>
        <vt:i4>1</vt:i4>
      </vt:variant>
      <vt:variant>
        <vt:lpstr>Títulos de slides</vt:lpstr>
      </vt:variant>
      <vt:variant>
        <vt:i4>42</vt:i4>
      </vt:variant>
    </vt:vector>
  </HeadingPairs>
  <TitlesOfParts>
    <vt:vector size="51" baseType="lpstr">
      <vt:lpstr>Arial</vt:lpstr>
      <vt:lpstr>Calibri</vt:lpstr>
      <vt:lpstr>CMB10</vt:lpstr>
      <vt:lpstr>CMBXTI10</vt:lpstr>
      <vt:lpstr>CMR12</vt:lpstr>
      <vt:lpstr>CMTI12</vt:lpstr>
      <vt:lpstr>Noto Sans Symbols</vt:lpstr>
      <vt:lpstr>Open Sans</vt:lpstr>
      <vt:lpstr>Tema do Offic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Ivan de Souza Rehder</dc:creator>
  <cp:lastModifiedBy>Ivan de Souza Rehder</cp:lastModifiedBy>
  <cp:revision>22</cp:revision>
  <dcterms:modified xsi:type="dcterms:W3CDTF">2022-07-25T22:22:41Z</dcterms:modified>
</cp:coreProperties>
</file>